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68" r:id="rId5"/>
    <p:sldMasterId id="2147483739" r:id="rId6"/>
    <p:sldMasterId id="2147483793" r:id="rId7"/>
  </p:sldMasterIdLst>
  <p:notesMasterIdLst>
    <p:notesMasterId r:id="rId25"/>
  </p:notesMasterIdLst>
  <p:handoutMasterIdLst>
    <p:handoutMasterId r:id="rId26"/>
  </p:handoutMasterIdLst>
  <p:sldIdLst>
    <p:sldId id="5002" r:id="rId8"/>
    <p:sldId id="102304" r:id="rId9"/>
    <p:sldId id="102305" r:id="rId10"/>
    <p:sldId id="102306" r:id="rId11"/>
    <p:sldId id="102307" r:id="rId12"/>
    <p:sldId id="102308" r:id="rId13"/>
    <p:sldId id="102309" r:id="rId14"/>
    <p:sldId id="102310" r:id="rId15"/>
    <p:sldId id="102311" r:id="rId16"/>
    <p:sldId id="102312" r:id="rId17"/>
    <p:sldId id="102314" r:id="rId18"/>
    <p:sldId id="102318" r:id="rId19"/>
    <p:sldId id="102313" r:id="rId20"/>
    <p:sldId id="102315" r:id="rId21"/>
    <p:sldId id="102316" r:id="rId22"/>
    <p:sldId id="102317" r:id="rId23"/>
    <p:sldId id="102293" r:id="rId24"/>
  </p:sldIdLst>
  <p:sldSz cx="9144000" cy="5143500" type="screen16x9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D1BDBBA-DF8F-4D8B-9AAD-EC2990862C53}">
          <p14:sldIdLst>
            <p14:sldId id="5002"/>
            <p14:sldId id="102304"/>
            <p14:sldId id="102305"/>
            <p14:sldId id="102306"/>
            <p14:sldId id="102307"/>
            <p14:sldId id="102308"/>
            <p14:sldId id="102309"/>
            <p14:sldId id="102310"/>
            <p14:sldId id="102311"/>
            <p14:sldId id="102312"/>
            <p14:sldId id="102314"/>
            <p14:sldId id="102318"/>
            <p14:sldId id="102313"/>
            <p14:sldId id="102315"/>
            <p14:sldId id="102316"/>
            <p14:sldId id="102317"/>
            <p14:sldId id="102293"/>
          </p14:sldIdLst>
        </p14:section>
      </p14:sectionLst>
    </p:ext>
    <p:ext uri="{EFAFB233-063F-42B5-8137-9DF3F51BA10A}">
      <p15:sldGuideLst xmlns:p15="http://schemas.microsoft.com/office/powerpoint/2012/main">
        <p15:guide id="1" pos="5760" userDrawn="1">
          <p15:clr>
            <a:srgbClr val="A4A3A4"/>
          </p15:clr>
        </p15:guide>
        <p15:guide id="3" orient="horz" pos="17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3EE1027-5DA5-A360-6479-B24CDBB62FBF}" name="Desai, Shruti (ELS-LON)" initials="DS(L" userId="S::DESAIS12@science.regn.net::2a75a0bf-8c9f-4350-a2c0-7566a5d17c61" providerId="AD"/>
  <p188:author id="{F53841CF-D42A-7C81-F4BE-E3910CDC8D7B}" name="McGuire, Angela (ELS-OXF)" initials="MA(O" userId="S::MCGUIRE1@science.regn.net::d4d105d8-9265-40c2-8bed-9c43b3b5f53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" clrIdx="1"/>
  <p:cmAuthor id="3" name="Liliane Meijnen" initials="LM" lastIdx="19" clrIdx="2">
    <p:extLst>
      <p:ext uri="{19B8F6BF-5375-455C-9EA6-DF929625EA0E}">
        <p15:presenceInfo xmlns:p15="http://schemas.microsoft.com/office/powerpoint/2012/main" userId="Liliane Meijne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7D31"/>
    <a:srgbClr val="ED7D00"/>
    <a:srgbClr val="D47F02"/>
    <a:srgbClr val="ED7000"/>
    <a:srgbClr val="F4B082"/>
    <a:srgbClr val="FEF1E0"/>
    <a:srgbClr val="3679E0"/>
    <a:srgbClr val="CDE4FF"/>
    <a:srgbClr val="FF0000"/>
    <a:srgbClr val="F869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5DBB673-0CBE-46B7-9160-69DE19AE0BA1}" v="9" dt="2023-10-05T19:49:17.715"/>
  </p1510:revLst>
</p1510:revInfo>
</file>

<file path=ppt/tableStyles.xml><?xml version="1.0" encoding="utf-8"?>
<a:tblStyleLst xmlns:a="http://schemas.openxmlformats.org/drawingml/2006/main" def="{BFEA419B-BCDB-4C27-8AB2-1E94C2BD932B}">
  <a:tblStyle styleId="{BFEA419B-BCDB-4C27-8AB2-1E94C2BD932B}" styleName="Elsevier light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27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BFEA419B-BCDB-4C27-8AB2-1E94C2BD932C}" styleName="Elsevier dark">
    <a:wholeTbl>
      <a:tcTxStyle>
        <a:fontRef idx="minor">
          <a:prstClr val="white"/>
        </a:fontRef>
        <a:schemeClr val="lt1"/>
      </a:tcTxStyle>
      <a:tcStyle>
        <a:tcBdr>
          <a:left>
            <a:ln w="0" cmpd="sng">
              <a:solidFill>
                <a:srgbClr val="2E2E2E"/>
              </a:solidFill>
            </a:ln>
          </a:left>
          <a:right>
            <a:ln w="0" cmpd="sng">
              <a:solidFill>
                <a:srgbClr val="2E2E2E"/>
              </a:solidFill>
            </a:ln>
          </a:right>
          <a:top>
            <a:ln w="0" cmpd="sng">
              <a:solidFill>
                <a:srgbClr val="2E2E2E"/>
              </a:solidFill>
            </a:ln>
          </a:top>
          <a:bottom>
            <a:ln w="12700" cmpd="sng">
              <a:solidFill>
                <a:srgbClr val="DCDCDD"/>
              </a:solidFill>
            </a:ln>
          </a:bottom>
          <a:insideH>
            <a:ln w="12700" cmpd="sng">
              <a:solidFill>
                <a:srgbClr val="DCDCDD"/>
              </a:solidFill>
            </a:ln>
          </a:insideH>
          <a:insideV>
            <a:ln w="0" cmpd="sng">
              <a:solidFill>
                <a:schemeClr val="dk1"/>
              </a:solidFill>
            </a:ln>
          </a:insideV>
        </a:tcBdr>
        <a:fill>
          <a:solidFill>
            <a:srgbClr val="2E2E2E"/>
          </a:solidFill>
        </a:fill>
      </a:tcStyle>
    </a:wholeTbl>
    <a:band1H>
      <a:tcStyle>
        <a:tcBdr/>
        <a:fill>
          <a:solidFill>
            <a:srgbClr val="2E2E2E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53565A"/>
          </a:solidFill>
        </a:fill>
      </a:tcStyle>
    </a:band1V>
    <a:band2V>
      <a:tcStyle>
        <a:tcBdr/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rgbClr val="3C3C3C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>
          <a:top>
            <a:ln w="12700" cmpd="sng">
              <a:solidFill>
                <a:srgbClr val="2E2E2E"/>
              </a:solidFill>
            </a:ln>
          </a:top>
        </a:tcBdr>
        <a:fill>
          <a:solidFill>
            <a:srgbClr val="3C3C3C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>
          <a:bottom>
            <a:ln w="12700" cmpd="sng">
              <a:solidFill>
                <a:srgbClr val="FF6C00"/>
              </a:solidFill>
            </a:ln>
          </a:bottom>
        </a:tcBdr>
        <a:fill>
          <a:solidFill>
            <a:srgbClr val="2E2E2E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8746" autoAdjust="0"/>
  </p:normalViewPr>
  <p:slideViewPr>
    <p:cSldViewPr snapToGrid="0">
      <p:cViewPr varScale="1">
        <p:scale>
          <a:sx n="74" d="100"/>
          <a:sy n="74" d="100"/>
        </p:scale>
        <p:origin x="1060" y="56"/>
      </p:cViewPr>
      <p:guideLst>
        <p:guide pos="5760"/>
        <p:guide orient="horz" pos="17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gs" Target="tags/tag1.xml"/><Relationship Id="rId30" Type="http://schemas.openxmlformats.org/officeDocument/2006/relationships/viewProps" Target="viewProps.xml"/><Relationship Id="rId35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bre, Silvia C. (ELS-OXF)" userId="6fa92d47-1a12-4396-9999-ab5bad667c6d" providerId="ADAL" clId="{C5DBB673-0CBE-46B7-9160-69DE19AE0BA1}"/>
    <pc:docChg chg="undo custSel addSld modSld modSection">
      <pc:chgData name="Dobre, Silvia C. (ELS-OXF)" userId="6fa92d47-1a12-4396-9999-ab5bad667c6d" providerId="ADAL" clId="{C5DBB673-0CBE-46B7-9160-69DE19AE0BA1}" dt="2023-10-05T19:50:43.528" v="250" actId="20577"/>
      <pc:docMkLst>
        <pc:docMk/>
      </pc:docMkLst>
      <pc:sldChg chg="modSp mod">
        <pc:chgData name="Dobre, Silvia C. (ELS-OXF)" userId="6fa92d47-1a12-4396-9999-ab5bad667c6d" providerId="ADAL" clId="{C5DBB673-0CBE-46B7-9160-69DE19AE0BA1}" dt="2023-10-05T19:49:50.367" v="236" actId="20577"/>
        <pc:sldMkLst>
          <pc:docMk/>
          <pc:sldMk cId="1478501752" sldId="102293"/>
        </pc:sldMkLst>
        <pc:spChg chg="mod">
          <ac:chgData name="Dobre, Silvia C. (ELS-OXF)" userId="6fa92d47-1a12-4396-9999-ab5bad667c6d" providerId="ADAL" clId="{C5DBB673-0CBE-46B7-9160-69DE19AE0BA1}" dt="2023-10-05T19:49:50.367" v="236" actId="20577"/>
          <ac:spMkLst>
            <pc:docMk/>
            <pc:sldMk cId="1478501752" sldId="102293"/>
            <ac:spMk id="9" creationId="{46FFEA08-9FD6-F66E-50DD-D2209DFC88CC}"/>
          </ac:spMkLst>
        </pc:spChg>
      </pc:sldChg>
      <pc:sldChg chg="modSp mod">
        <pc:chgData name="Dobre, Silvia C. (ELS-OXF)" userId="6fa92d47-1a12-4396-9999-ab5bad667c6d" providerId="ADAL" clId="{C5DBB673-0CBE-46B7-9160-69DE19AE0BA1}" dt="2023-10-05T07:33:09.883" v="39" actId="1035"/>
        <pc:sldMkLst>
          <pc:docMk/>
          <pc:sldMk cId="1466041918" sldId="102305"/>
        </pc:sldMkLst>
        <pc:spChg chg="mod">
          <ac:chgData name="Dobre, Silvia C. (ELS-OXF)" userId="6fa92d47-1a12-4396-9999-ab5bad667c6d" providerId="ADAL" clId="{C5DBB673-0CBE-46B7-9160-69DE19AE0BA1}" dt="2023-10-05T07:32:38.475" v="38" actId="14100"/>
          <ac:spMkLst>
            <pc:docMk/>
            <pc:sldMk cId="1466041918" sldId="102305"/>
            <ac:spMk id="7" creationId="{6D88F580-24A9-2256-4EAC-FEF88E196F69}"/>
          </ac:spMkLst>
        </pc:spChg>
        <pc:spChg chg="mod">
          <ac:chgData name="Dobre, Silvia C. (ELS-OXF)" userId="6fa92d47-1a12-4396-9999-ab5bad667c6d" providerId="ADAL" clId="{C5DBB673-0CBE-46B7-9160-69DE19AE0BA1}" dt="2023-10-05T07:31:52.659" v="35" actId="1036"/>
          <ac:spMkLst>
            <pc:docMk/>
            <pc:sldMk cId="1466041918" sldId="102305"/>
            <ac:spMk id="9" creationId="{C3C22BC4-BF26-90F2-773D-7378688013A6}"/>
          </ac:spMkLst>
        </pc:spChg>
        <pc:spChg chg="mod">
          <ac:chgData name="Dobre, Silvia C. (ELS-OXF)" userId="6fa92d47-1a12-4396-9999-ab5bad667c6d" providerId="ADAL" clId="{C5DBB673-0CBE-46B7-9160-69DE19AE0BA1}" dt="2023-10-05T07:33:09.883" v="39" actId="1035"/>
          <ac:spMkLst>
            <pc:docMk/>
            <pc:sldMk cId="1466041918" sldId="102305"/>
            <ac:spMk id="10" creationId="{C67E624A-B89D-653A-3059-1077FA4D634D}"/>
          </ac:spMkLst>
        </pc:spChg>
      </pc:sldChg>
      <pc:sldChg chg="modSp mod">
        <pc:chgData name="Dobre, Silvia C. (ELS-OXF)" userId="6fa92d47-1a12-4396-9999-ab5bad667c6d" providerId="ADAL" clId="{C5DBB673-0CBE-46B7-9160-69DE19AE0BA1}" dt="2023-10-05T19:46:42.520" v="161" actId="20577"/>
        <pc:sldMkLst>
          <pc:docMk/>
          <pc:sldMk cId="2442031839" sldId="102308"/>
        </pc:sldMkLst>
        <pc:spChg chg="mod">
          <ac:chgData name="Dobre, Silvia C. (ELS-OXF)" userId="6fa92d47-1a12-4396-9999-ab5bad667c6d" providerId="ADAL" clId="{C5DBB673-0CBE-46B7-9160-69DE19AE0BA1}" dt="2023-10-05T19:46:42.520" v="161" actId="20577"/>
          <ac:spMkLst>
            <pc:docMk/>
            <pc:sldMk cId="2442031839" sldId="102308"/>
            <ac:spMk id="3" creationId="{6B737FDA-8F1C-B38C-F551-BDDF819BC76B}"/>
          </ac:spMkLst>
        </pc:spChg>
      </pc:sldChg>
      <pc:sldChg chg="modSp mod">
        <pc:chgData name="Dobre, Silvia C. (ELS-OXF)" userId="6fa92d47-1a12-4396-9999-ab5bad667c6d" providerId="ADAL" clId="{C5DBB673-0CBE-46B7-9160-69DE19AE0BA1}" dt="2023-10-05T07:23:28.766" v="9" actId="20577"/>
        <pc:sldMkLst>
          <pc:docMk/>
          <pc:sldMk cId="2732687981" sldId="102309"/>
        </pc:sldMkLst>
        <pc:spChg chg="mod">
          <ac:chgData name="Dobre, Silvia C. (ELS-OXF)" userId="6fa92d47-1a12-4396-9999-ab5bad667c6d" providerId="ADAL" clId="{C5DBB673-0CBE-46B7-9160-69DE19AE0BA1}" dt="2023-10-05T07:23:28.766" v="9" actId="20577"/>
          <ac:spMkLst>
            <pc:docMk/>
            <pc:sldMk cId="2732687981" sldId="102309"/>
            <ac:spMk id="3" creationId="{010BE017-8A0F-C32B-C003-F9E00E67C43C}"/>
          </ac:spMkLst>
        </pc:spChg>
      </pc:sldChg>
      <pc:sldChg chg="modSp mod">
        <pc:chgData name="Dobre, Silvia C. (ELS-OXF)" userId="6fa92d47-1a12-4396-9999-ab5bad667c6d" providerId="ADAL" clId="{C5DBB673-0CBE-46B7-9160-69DE19AE0BA1}" dt="2023-10-05T19:47:11.555" v="176" actId="20577"/>
        <pc:sldMkLst>
          <pc:docMk/>
          <pc:sldMk cId="3063115150" sldId="102314"/>
        </pc:sldMkLst>
        <pc:spChg chg="mod">
          <ac:chgData name="Dobre, Silvia C. (ELS-OXF)" userId="6fa92d47-1a12-4396-9999-ab5bad667c6d" providerId="ADAL" clId="{C5DBB673-0CBE-46B7-9160-69DE19AE0BA1}" dt="2023-10-05T19:47:11.555" v="176" actId="20577"/>
          <ac:spMkLst>
            <pc:docMk/>
            <pc:sldMk cId="3063115150" sldId="102314"/>
            <ac:spMk id="3" creationId="{9D237C6E-581F-5949-FD84-F9989DB63678}"/>
          </ac:spMkLst>
        </pc:spChg>
        <pc:picChg chg="ord">
          <ac:chgData name="Dobre, Silvia C. (ELS-OXF)" userId="6fa92d47-1a12-4396-9999-ab5bad667c6d" providerId="ADAL" clId="{C5DBB673-0CBE-46B7-9160-69DE19AE0BA1}" dt="2023-10-05T07:34:13.787" v="44" actId="167"/>
          <ac:picMkLst>
            <pc:docMk/>
            <pc:sldMk cId="3063115150" sldId="102314"/>
            <ac:picMk id="17" creationId="{A7D4FE53-04B8-E849-92C2-15EA788E66C1}"/>
          </ac:picMkLst>
        </pc:picChg>
        <pc:cxnChg chg="mod ord">
          <ac:chgData name="Dobre, Silvia C. (ELS-OXF)" userId="6fa92d47-1a12-4396-9999-ab5bad667c6d" providerId="ADAL" clId="{C5DBB673-0CBE-46B7-9160-69DE19AE0BA1}" dt="2023-10-05T07:34:38.783" v="47" actId="167"/>
          <ac:cxnSpMkLst>
            <pc:docMk/>
            <pc:sldMk cId="3063115150" sldId="102314"/>
            <ac:cxnSpMk id="11" creationId="{3A2F0785-2998-409D-4261-CACC7349BC0C}"/>
          </ac:cxnSpMkLst>
        </pc:cxnChg>
      </pc:sldChg>
      <pc:sldChg chg="addSp modSp mod">
        <pc:chgData name="Dobre, Silvia C. (ELS-OXF)" userId="6fa92d47-1a12-4396-9999-ab5bad667c6d" providerId="ADAL" clId="{C5DBB673-0CBE-46B7-9160-69DE19AE0BA1}" dt="2023-10-05T19:50:30.300" v="249" actId="20577"/>
        <pc:sldMkLst>
          <pc:docMk/>
          <pc:sldMk cId="376801361" sldId="102315"/>
        </pc:sldMkLst>
        <pc:spChg chg="add mod">
          <ac:chgData name="Dobre, Silvia C. (ELS-OXF)" userId="6fa92d47-1a12-4396-9999-ab5bad667c6d" providerId="ADAL" clId="{C5DBB673-0CBE-46B7-9160-69DE19AE0BA1}" dt="2023-10-05T19:49:05.117" v="205" actId="1076"/>
          <ac:spMkLst>
            <pc:docMk/>
            <pc:sldMk cId="376801361" sldId="102315"/>
            <ac:spMk id="2" creationId="{5357760A-4357-4337-6D69-238A2FEF91EA}"/>
          </ac:spMkLst>
        </pc:spChg>
        <pc:spChg chg="mod">
          <ac:chgData name="Dobre, Silvia C. (ELS-OXF)" userId="6fa92d47-1a12-4396-9999-ab5bad667c6d" providerId="ADAL" clId="{C5DBB673-0CBE-46B7-9160-69DE19AE0BA1}" dt="2023-10-05T19:50:30.300" v="249" actId="20577"/>
          <ac:spMkLst>
            <pc:docMk/>
            <pc:sldMk cId="376801361" sldId="102315"/>
            <ac:spMk id="3" creationId="{E9ECA899-B83F-28F6-373D-92C771CA5DCE}"/>
          </ac:spMkLst>
        </pc:spChg>
      </pc:sldChg>
      <pc:sldChg chg="addSp delSp modSp mod">
        <pc:chgData name="Dobre, Silvia C. (ELS-OXF)" userId="6fa92d47-1a12-4396-9999-ab5bad667c6d" providerId="ADAL" clId="{C5DBB673-0CBE-46B7-9160-69DE19AE0BA1}" dt="2023-10-05T07:29:46.349" v="20" actId="1076"/>
        <pc:sldMkLst>
          <pc:docMk/>
          <pc:sldMk cId="2242502756" sldId="102316"/>
        </pc:sldMkLst>
        <pc:picChg chg="add mod">
          <ac:chgData name="Dobre, Silvia C. (ELS-OXF)" userId="6fa92d47-1a12-4396-9999-ab5bad667c6d" providerId="ADAL" clId="{C5DBB673-0CBE-46B7-9160-69DE19AE0BA1}" dt="2023-10-05T07:29:46.349" v="20" actId="1076"/>
          <ac:picMkLst>
            <pc:docMk/>
            <pc:sldMk cId="2242502756" sldId="102316"/>
            <ac:picMk id="5" creationId="{F21AC1B3-0AEC-632B-6CFE-3D321DBFE5E7}"/>
          </ac:picMkLst>
        </pc:picChg>
        <pc:picChg chg="del">
          <ac:chgData name="Dobre, Silvia C. (ELS-OXF)" userId="6fa92d47-1a12-4396-9999-ab5bad667c6d" providerId="ADAL" clId="{C5DBB673-0CBE-46B7-9160-69DE19AE0BA1}" dt="2023-10-05T07:29:15.133" v="10" actId="478"/>
          <ac:picMkLst>
            <pc:docMk/>
            <pc:sldMk cId="2242502756" sldId="102316"/>
            <ac:picMk id="8" creationId="{6BDD4F37-EB23-282A-CA34-49117F351A52}"/>
          </ac:picMkLst>
        </pc:picChg>
      </pc:sldChg>
      <pc:sldChg chg="addSp modSp mod">
        <pc:chgData name="Dobre, Silvia C. (ELS-OXF)" userId="6fa92d47-1a12-4396-9999-ab5bad667c6d" providerId="ADAL" clId="{C5DBB673-0CBE-46B7-9160-69DE19AE0BA1}" dt="2023-10-05T19:50:43.528" v="250" actId="20577"/>
        <pc:sldMkLst>
          <pc:docMk/>
          <pc:sldMk cId="4134672489" sldId="102317"/>
        </pc:sldMkLst>
        <pc:spChg chg="add mod">
          <ac:chgData name="Dobre, Silvia C. (ELS-OXF)" userId="6fa92d47-1a12-4396-9999-ab5bad667c6d" providerId="ADAL" clId="{C5DBB673-0CBE-46B7-9160-69DE19AE0BA1}" dt="2023-10-05T19:49:21.931" v="207" actId="1076"/>
          <ac:spMkLst>
            <pc:docMk/>
            <pc:sldMk cId="4134672489" sldId="102317"/>
            <ac:spMk id="2" creationId="{0AF6CF09-6054-15EC-1F5B-5759CADC9CE3}"/>
          </ac:spMkLst>
        </pc:spChg>
        <pc:spChg chg="mod">
          <ac:chgData name="Dobre, Silvia C. (ELS-OXF)" userId="6fa92d47-1a12-4396-9999-ab5bad667c6d" providerId="ADAL" clId="{C5DBB673-0CBE-46B7-9160-69DE19AE0BA1}" dt="2023-10-05T19:50:43.528" v="250" actId="20577"/>
          <ac:spMkLst>
            <pc:docMk/>
            <pc:sldMk cId="4134672489" sldId="102317"/>
            <ac:spMk id="3" creationId="{A88920D5-8355-8D48-1CF0-D0399CB3BB4E}"/>
          </ac:spMkLst>
        </pc:spChg>
      </pc:sldChg>
      <pc:sldChg chg="addSp delSp modSp new mod modNotesTx">
        <pc:chgData name="Dobre, Silvia C. (ELS-OXF)" userId="6fa92d47-1a12-4396-9999-ab5bad667c6d" providerId="ADAL" clId="{C5DBB673-0CBE-46B7-9160-69DE19AE0BA1}" dt="2023-10-05T19:45:54.292" v="148" actId="20577"/>
        <pc:sldMkLst>
          <pc:docMk/>
          <pc:sldMk cId="3855618997" sldId="102318"/>
        </pc:sldMkLst>
        <pc:spChg chg="del">
          <ac:chgData name="Dobre, Silvia C. (ELS-OXF)" userId="6fa92d47-1a12-4396-9999-ab5bad667c6d" providerId="ADAL" clId="{C5DBB673-0CBE-46B7-9160-69DE19AE0BA1}" dt="2023-10-05T10:19:42.507" v="53" actId="478"/>
          <ac:spMkLst>
            <pc:docMk/>
            <pc:sldMk cId="3855618997" sldId="102318"/>
            <ac:spMk id="2" creationId="{5C8CDDD5-AA56-5254-CC0A-336442D1EE80}"/>
          </ac:spMkLst>
        </pc:spChg>
        <pc:spChg chg="mod">
          <ac:chgData name="Dobre, Silvia C. (ELS-OXF)" userId="6fa92d47-1a12-4396-9999-ab5bad667c6d" providerId="ADAL" clId="{C5DBB673-0CBE-46B7-9160-69DE19AE0BA1}" dt="2023-10-05T10:30:03.274" v="144" actId="20577"/>
          <ac:spMkLst>
            <pc:docMk/>
            <pc:sldMk cId="3855618997" sldId="102318"/>
            <ac:spMk id="3" creationId="{AF69EF02-EBB9-6DE4-14E4-36E5D1565724}"/>
          </ac:spMkLst>
        </pc:spChg>
        <pc:spChg chg="add del mod">
          <ac:chgData name="Dobre, Silvia C. (ELS-OXF)" userId="6fa92d47-1a12-4396-9999-ab5bad667c6d" providerId="ADAL" clId="{C5DBB673-0CBE-46B7-9160-69DE19AE0BA1}" dt="2023-10-05T10:21:14.090" v="85" actId="478"/>
          <ac:spMkLst>
            <pc:docMk/>
            <pc:sldMk cId="3855618997" sldId="102318"/>
            <ac:spMk id="7" creationId="{F87C7F0B-1E0C-7D3A-179A-6920E0A9B3F7}"/>
          </ac:spMkLst>
        </pc:spChg>
        <pc:spChg chg="add del mod">
          <ac:chgData name="Dobre, Silvia C. (ELS-OXF)" userId="6fa92d47-1a12-4396-9999-ab5bad667c6d" providerId="ADAL" clId="{C5DBB673-0CBE-46B7-9160-69DE19AE0BA1}" dt="2023-10-05T10:24:33.449" v="96"/>
          <ac:spMkLst>
            <pc:docMk/>
            <pc:sldMk cId="3855618997" sldId="102318"/>
            <ac:spMk id="8" creationId="{38C50ADA-D8EB-68E3-A4B4-E5C97810C968}"/>
          </ac:spMkLst>
        </pc:spChg>
        <pc:spChg chg="add del">
          <ac:chgData name="Dobre, Silvia C. (ELS-OXF)" userId="6fa92d47-1a12-4396-9999-ab5bad667c6d" providerId="ADAL" clId="{C5DBB673-0CBE-46B7-9160-69DE19AE0BA1}" dt="2023-10-05T10:24:28.523" v="92" actId="22"/>
          <ac:spMkLst>
            <pc:docMk/>
            <pc:sldMk cId="3855618997" sldId="102318"/>
            <ac:spMk id="10" creationId="{B60A3577-0E34-7ABF-B6D7-06ED2F5D0222}"/>
          </ac:spMkLst>
        </pc:spChg>
        <pc:spChg chg="add mod">
          <ac:chgData name="Dobre, Silvia C. (ELS-OXF)" userId="6fa92d47-1a12-4396-9999-ab5bad667c6d" providerId="ADAL" clId="{C5DBB673-0CBE-46B7-9160-69DE19AE0BA1}" dt="2023-10-05T19:41:26.561" v="147" actId="20577"/>
          <ac:spMkLst>
            <pc:docMk/>
            <pc:sldMk cId="3855618997" sldId="102318"/>
            <ac:spMk id="11" creationId="{4A85F6B8-E44E-A904-277C-56E6D7A84700}"/>
          </ac:spMkLst>
        </pc:spChg>
        <pc:picChg chg="add mod">
          <ac:chgData name="Dobre, Silvia C. (ELS-OXF)" userId="6fa92d47-1a12-4396-9999-ab5bad667c6d" providerId="ADAL" clId="{C5DBB673-0CBE-46B7-9160-69DE19AE0BA1}" dt="2023-10-05T10:18:49.431" v="51" actId="14100"/>
          <ac:picMkLst>
            <pc:docMk/>
            <pc:sldMk cId="3855618997" sldId="102318"/>
            <ac:picMk id="4" creationId="{38EAF4B9-2FFE-CF51-DF63-C8E0F7FCEDA0}"/>
          </ac:picMkLst>
        </pc:picChg>
        <pc:picChg chg="add mod">
          <ac:chgData name="Dobre, Silvia C. (ELS-OXF)" userId="6fa92d47-1a12-4396-9999-ab5bad667c6d" providerId="ADAL" clId="{C5DBB673-0CBE-46B7-9160-69DE19AE0BA1}" dt="2023-10-05T10:20:08.200" v="58" actId="1076"/>
          <ac:picMkLst>
            <pc:docMk/>
            <pc:sldMk cId="3855618997" sldId="102318"/>
            <ac:picMk id="5" creationId="{1DF936F8-058C-D468-C3FE-8FA12406D50C}"/>
          </ac:picMkLst>
        </pc:picChg>
      </pc:sldChg>
    </pc:docChg>
  </pc:docChgLst>
  <pc:docChgLst>
    <pc:chgData name="McGuire, Angela (ELS-OXF)" userId="d4d105d8-9265-40c2-8bed-9c43b3b5f534" providerId="ADAL" clId="{8804E308-1B7B-481A-A97C-A63D97FF5AEE}"/>
    <pc:docChg chg="delSld modSld delSection modSection">
      <pc:chgData name="McGuire, Angela (ELS-OXF)" userId="d4d105d8-9265-40c2-8bed-9c43b3b5f534" providerId="ADAL" clId="{8804E308-1B7B-481A-A97C-A63D97FF5AEE}" dt="2023-05-18T13:32:31.971" v="46" actId="5793"/>
      <pc:docMkLst>
        <pc:docMk/>
      </pc:docMkLst>
      <pc:sldChg chg="del">
        <pc:chgData name="McGuire, Angela (ELS-OXF)" userId="d4d105d8-9265-40c2-8bed-9c43b3b5f534" providerId="ADAL" clId="{8804E308-1B7B-481A-A97C-A63D97FF5AEE}" dt="2023-05-18T13:27:19.192" v="0" actId="2696"/>
        <pc:sldMkLst>
          <pc:docMk/>
          <pc:sldMk cId="3687978381" sldId="260"/>
        </pc:sldMkLst>
      </pc:sldChg>
      <pc:sldChg chg="del">
        <pc:chgData name="McGuire, Angela (ELS-OXF)" userId="d4d105d8-9265-40c2-8bed-9c43b3b5f534" providerId="ADAL" clId="{8804E308-1B7B-481A-A97C-A63D97FF5AEE}" dt="2023-05-18T13:27:19.192" v="0" actId="2696"/>
        <pc:sldMkLst>
          <pc:docMk/>
          <pc:sldMk cId="2418522688" sldId="265"/>
        </pc:sldMkLst>
      </pc:sldChg>
      <pc:sldChg chg="modNotesTx">
        <pc:chgData name="McGuire, Angela (ELS-OXF)" userId="d4d105d8-9265-40c2-8bed-9c43b3b5f534" providerId="ADAL" clId="{8804E308-1B7B-481A-A97C-A63D97FF5AEE}" dt="2023-05-18T13:29:16.415" v="12" actId="20577"/>
        <pc:sldMkLst>
          <pc:docMk/>
          <pc:sldMk cId="1555385689" sldId="267"/>
        </pc:sldMkLst>
      </pc:sldChg>
      <pc:sldChg chg="modNotesTx">
        <pc:chgData name="McGuire, Angela (ELS-OXF)" userId="d4d105d8-9265-40c2-8bed-9c43b3b5f534" providerId="ADAL" clId="{8804E308-1B7B-481A-A97C-A63D97FF5AEE}" dt="2023-05-18T13:31:32.299" v="35" actId="20577"/>
        <pc:sldMkLst>
          <pc:docMk/>
          <pc:sldMk cId="2497338858" sldId="274"/>
        </pc:sldMkLst>
      </pc:sldChg>
      <pc:sldChg chg="modNotesTx">
        <pc:chgData name="McGuire, Angela (ELS-OXF)" userId="d4d105d8-9265-40c2-8bed-9c43b3b5f534" providerId="ADAL" clId="{8804E308-1B7B-481A-A97C-A63D97FF5AEE}" dt="2023-05-18T13:31:19.870" v="33" actId="20577"/>
        <pc:sldMkLst>
          <pc:docMk/>
          <pc:sldMk cId="2310248924" sldId="275"/>
        </pc:sldMkLst>
      </pc:sldChg>
      <pc:sldChg chg="modNotesTx">
        <pc:chgData name="McGuire, Angela (ELS-OXF)" userId="d4d105d8-9265-40c2-8bed-9c43b3b5f534" providerId="ADAL" clId="{8804E308-1B7B-481A-A97C-A63D97FF5AEE}" dt="2023-05-18T13:30:54.591" v="29" actId="20577"/>
        <pc:sldMkLst>
          <pc:docMk/>
          <pc:sldMk cId="2149875629" sldId="276"/>
        </pc:sldMkLst>
      </pc:sldChg>
      <pc:sldChg chg="modNotesTx">
        <pc:chgData name="McGuire, Angela (ELS-OXF)" userId="d4d105d8-9265-40c2-8bed-9c43b3b5f534" providerId="ADAL" clId="{8804E308-1B7B-481A-A97C-A63D97FF5AEE}" dt="2023-05-18T13:30:15.537" v="22" actId="20577"/>
        <pc:sldMkLst>
          <pc:docMk/>
          <pc:sldMk cId="3583787402" sldId="277"/>
        </pc:sldMkLst>
      </pc:sldChg>
      <pc:sldChg chg="modNotesTx">
        <pc:chgData name="McGuire, Angela (ELS-OXF)" userId="d4d105d8-9265-40c2-8bed-9c43b3b5f534" providerId="ADAL" clId="{8804E308-1B7B-481A-A97C-A63D97FF5AEE}" dt="2023-05-18T13:32:31.971" v="46" actId="5793"/>
        <pc:sldMkLst>
          <pc:docMk/>
          <pc:sldMk cId="637582833" sldId="5002"/>
        </pc:sldMkLst>
      </pc:sldChg>
      <pc:sldChg chg="modNotesTx">
        <pc:chgData name="McGuire, Angela (ELS-OXF)" userId="d4d105d8-9265-40c2-8bed-9c43b3b5f534" providerId="ADAL" clId="{8804E308-1B7B-481A-A97C-A63D97FF5AEE}" dt="2023-05-18T13:31:43.966" v="37" actId="20577"/>
        <pc:sldMkLst>
          <pc:docMk/>
          <pc:sldMk cId="3886597923" sldId="5165"/>
        </pc:sldMkLst>
      </pc:sldChg>
      <pc:sldChg chg="del">
        <pc:chgData name="McGuire, Angela (ELS-OXF)" userId="d4d105d8-9265-40c2-8bed-9c43b3b5f534" providerId="ADAL" clId="{8804E308-1B7B-481A-A97C-A63D97FF5AEE}" dt="2023-05-18T13:27:19.192" v="0" actId="2696"/>
        <pc:sldMkLst>
          <pc:docMk/>
          <pc:sldMk cId="4196081815" sldId="5177"/>
        </pc:sldMkLst>
      </pc:sldChg>
      <pc:sldChg chg="modNotesTx">
        <pc:chgData name="McGuire, Angela (ELS-OXF)" userId="d4d105d8-9265-40c2-8bed-9c43b3b5f534" providerId="ADAL" clId="{8804E308-1B7B-481A-A97C-A63D97FF5AEE}" dt="2023-05-18T13:31:49.474" v="38" actId="20577"/>
        <pc:sldMkLst>
          <pc:docMk/>
          <pc:sldMk cId="306931634" sldId="5180"/>
        </pc:sldMkLst>
      </pc:sldChg>
      <pc:sldChg chg="modNotesTx">
        <pc:chgData name="McGuire, Angela (ELS-OXF)" userId="d4d105d8-9265-40c2-8bed-9c43b3b5f534" providerId="ADAL" clId="{8804E308-1B7B-481A-A97C-A63D97FF5AEE}" dt="2023-05-18T13:29:21.677" v="13" actId="20577"/>
        <pc:sldMkLst>
          <pc:docMk/>
          <pc:sldMk cId="856068315" sldId="5186"/>
        </pc:sldMkLst>
      </pc:sldChg>
      <pc:sldChg chg="modNotesTx">
        <pc:chgData name="McGuire, Angela (ELS-OXF)" userId="d4d105d8-9265-40c2-8bed-9c43b3b5f534" providerId="ADAL" clId="{8804E308-1B7B-481A-A97C-A63D97FF5AEE}" dt="2023-05-18T13:29:28.656" v="14" actId="20577"/>
        <pc:sldMkLst>
          <pc:docMk/>
          <pc:sldMk cId="2354100270" sldId="5188"/>
        </pc:sldMkLst>
      </pc:sldChg>
      <pc:sldChg chg="del">
        <pc:chgData name="McGuire, Angela (ELS-OXF)" userId="d4d105d8-9265-40c2-8bed-9c43b3b5f534" providerId="ADAL" clId="{8804E308-1B7B-481A-A97C-A63D97FF5AEE}" dt="2023-05-18T13:27:19.192" v="0" actId="2696"/>
        <pc:sldMkLst>
          <pc:docMk/>
          <pc:sldMk cId="490805901" sldId="5189"/>
        </pc:sldMkLst>
      </pc:sldChg>
      <pc:sldChg chg="modNotesTx">
        <pc:chgData name="McGuire, Angela (ELS-OXF)" userId="d4d105d8-9265-40c2-8bed-9c43b3b5f534" providerId="ADAL" clId="{8804E308-1B7B-481A-A97C-A63D97FF5AEE}" dt="2023-05-18T13:31:38.298" v="36" actId="20577"/>
        <pc:sldMkLst>
          <pc:docMk/>
          <pc:sldMk cId="935930115" sldId="5191"/>
        </pc:sldMkLst>
      </pc:sldChg>
      <pc:sldChg chg="del">
        <pc:chgData name="McGuire, Angela (ELS-OXF)" userId="d4d105d8-9265-40c2-8bed-9c43b3b5f534" providerId="ADAL" clId="{8804E308-1B7B-481A-A97C-A63D97FF5AEE}" dt="2023-05-18T13:27:19.192" v="0" actId="2696"/>
        <pc:sldMkLst>
          <pc:docMk/>
          <pc:sldMk cId="3529536820" sldId="5192"/>
        </pc:sldMkLst>
      </pc:sldChg>
      <pc:sldChg chg="del">
        <pc:chgData name="McGuire, Angela (ELS-OXF)" userId="d4d105d8-9265-40c2-8bed-9c43b3b5f534" providerId="ADAL" clId="{8804E308-1B7B-481A-A97C-A63D97FF5AEE}" dt="2023-05-18T13:27:19.192" v="0" actId="2696"/>
        <pc:sldMkLst>
          <pc:docMk/>
          <pc:sldMk cId="2784714381" sldId="5193"/>
        </pc:sldMkLst>
      </pc:sldChg>
      <pc:sldChg chg="del">
        <pc:chgData name="McGuire, Angela (ELS-OXF)" userId="d4d105d8-9265-40c2-8bed-9c43b3b5f534" providerId="ADAL" clId="{8804E308-1B7B-481A-A97C-A63D97FF5AEE}" dt="2023-05-18T13:27:19.192" v="0" actId="2696"/>
        <pc:sldMkLst>
          <pc:docMk/>
          <pc:sldMk cId="741185765" sldId="8167"/>
        </pc:sldMkLst>
      </pc:sldChg>
      <pc:sldChg chg="del">
        <pc:chgData name="McGuire, Angela (ELS-OXF)" userId="d4d105d8-9265-40c2-8bed-9c43b3b5f534" providerId="ADAL" clId="{8804E308-1B7B-481A-A97C-A63D97FF5AEE}" dt="2023-05-18T13:27:19.192" v="0" actId="2696"/>
        <pc:sldMkLst>
          <pc:docMk/>
          <pc:sldMk cId="2559729164" sldId="102251"/>
        </pc:sldMkLst>
      </pc:sldChg>
      <pc:sldChg chg="modNotesTx">
        <pc:chgData name="McGuire, Angela (ELS-OXF)" userId="d4d105d8-9265-40c2-8bed-9c43b3b5f534" providerId="ADAL" clId="{8804E308-1B7B-481A-A97C-A63D97FF5AEE}" dt="2023-05-18T13:31:10.368" v="32" actId="20577"/>
        <pc:sldMkLst>
          <pc:docMk/>
          <pc:sldMk cId="254527008" sldId="102254"/>
        </pc:sldMkLst>
      </pc:sldChg>
      <pc:sldChg chg="modNotesTx">
        <pc:chgData name="McGuire, Angela (ELS-OXF)" userId="d4d105d8-9265-40c2-8bed-9c43b3b5f534" providerId="ADAL" clId="{8804E308-1B7B-481A-A97C-A63D97FF5AEE}" dt="2023-05-18T13:30:36.931" v="26" actId="20577"/>
        <pc:sldMkLst>
          <pc:docMk/>
          <pc:sldMk cId="1181287275" sldId="102256"/>
        </pc:sldMkLst>
      </pc:sldChg>
      <pc:sldChg chg="modNotesTx">
        <pc:chgData name="McGuire, Angela (ELS-OXF)" userId="d4d105d8-9265-40c2-8bed-9c43b3b5f534" providerId="ADAL" clId="{8804E308-1B7B-481A-A97C-A63D97FF5AEE}" dt="2023-05-18T13:29:50.719" v="16" actId="20577"/>
        <pc:sldMkLst>
          <pc:docMk/>
          <pc:sldMk cId="3308601369" sldId="102257"/>
        </pc:sldMkLst>
      </pc:sldChg>
      <pc:sldChg chg="modNotesTx">
        <pc:chgData name="McGuire, Angela (ELS-OXF)" userId="d4d105d8-9265-40c2-8bed-9c43b3b5f534" providerId="ADAL" clId="{8804E308-1B7B-481A-A97C-A63D97FF5AEE}" dt="2023-05-18T13:31:04.908" v="31" actId="20577"/>
        <pc:sldMkLst>
          <pc:docMk/>
          <pc:sldMk cId="3527171734" sldId="102258"/>
        </pc:sldMkLst>
      </pc:sldChg>
      <pc:sldChg chg="modNotesTx">
        <pc:chgData name="McGuire, Angela (ELS-OXF)" userId="d4d105d8-9265-40c2-8bed-9c43b3b5f534" providerId="ADAL" clId="{8804E308-1B7B-481A-A97C-A63D97FF5AEE}" dt="2023-05-18T13:30:42.210" v="27" actId="20577"/>
        <pc:sldMkLst>
          <pc:docMk/>
          <pc:sldMk cId="976820359" sldId="102259"/>
        </pc:sldMkLst>
      </pc:sldChg>
      <pc:sldChg chg="modNotesTx">
        <pc:chgData name="McGuire, Angela (ELS-OXF)" userId="d4d105d8-9265-40c2-8bed-9c43b3b5f534" providerId="ADAL" clId="{8804E308-1B7B-481A-A97C-A63D97FF5AEE}" dt="2023-05-18T13:32:26.091" v="44" actId="20577"/>
        <pc:sldMkLst>
          <pc:docMk/>
          <pc:sldMk cId="1886514585" sldId="102261"/>
        </pc:sldMkLst>
      </pc:sldChg>
      <pc:sldChg chg="del">
        <pc:chgData name="McGuire, Angela (ELS-OXF)" userId="d4d105d8-9265-40c2-8bed-9c43b3b5f534" providerId="ADAL" clId="{8804E308-1B7B-481A-A97C-A63D97FF5AEE}" dt="2023-05-18T13:27:19.192" v="0" actId="2696"/>
        <pc:sldMkLst>
          <pc:docMk/>
          <pc:sldMk cId="3511751346" sldId="102263"/>
        </pc:sldMkLst>
      </pc:sldChg>
      <pc:sldChg chg="modNotesTx">
        <pc:chgData name="McGuire, Angela (ELS-OXF)" userId="d4d105d8-9265-40c2-8bed-9c43b3b5f534" providerId="ADAL" clId="{8804E308-1B7B-481A-A97C-A63D97FF5AEE}" dt="2023-05-18T13:32:17.463" v="43" actId="20577"/>
        <pc:sldMkLst>
          <pc:docMk/>
          <pc:sldMk cId="2224456114" sldId="102264"/>
        </pc:sldMkLst>
      </pc:sldChg>
      <pc:sldChg chg="modNotesTx">
        <pc:chgData name="McGuire, Angela (ELS-OXF)" userId="d4d105d8-9265-40c2-8bed-9c43b3b5f534" providerId="ADAL" clId="{8804E308-1B7B-481A-A97C-A63D97FF5AEE}" dt="2023-05-18T13:32:10.407" v="41" actId="20577"/>
        <pc:sldMkLst>
          <pc:docMk/>
          <pc:sldMk cId="683894262" sldId="102265"/>
        </pc:sldMkLst>
      </pc:sldChg>
      <pc:sldChg chg="modNotesTx">
        <pc:chgData name="McGuire, Angela (ELS-OXF)" userId="d4d105d8-9265-40c2-8bed-9c43b3b5f534" providerId="ADAL" clId="{8804E308-1B7B-481A-A97C-A63D97FF5AEE}" dt="2023-05-18T13:31:54.711" v="39" actId="20577"/>
        <pc:sldMkLst>
          <pc:docMk/>
          <pc:sldMk cId="3886377383" sldId="102271"/>
        </pc:sldMkLst>
      </pc:sldChg>
      <pc:sldChg chg="modNotesTx">
        <pc:chgData name="McGuire, Angela (ELS-OXF)" userId="d4d105d8-9265-40c2-8bed-9c43b3b5f534" providerId="ADAL" clId="{8804E308-1B7B-481A-A97C-A63D97FF5AEE}" dt="2023-05-18T13:30:47.598" v="28" actId="20577"/>
        <pc:sldMkLst>
          <pc:docMk/>
          <pc:sldMk cId="614267165" sldId="102275"/>
        </pc:sldMkLst>
      </pc:sldChg>
      <pc:sldChg chg="modNotesTx">
        <pc:chgData name="McGuire, Angela (ELS-OXF)" userId="d4d105d8-9265-40c2-8bed-9c43b3b5f534" providerId="ADAL" clId="{8804E308-1B7B-481A-A97C-A63D97FF5AEE}" dt="2023-05-18T13:32:00.420" v="40" actId="20577"/>
        <pc:sldMkLst>
          <pc:docMk/>
          <pc:sldMk cId="1193387957" sldId="102278"/>
        </pc:sldMkLst>
      </pc:sldChg>
      <pc:sldChg chg="modNotesTx">
        <pc:chgData name="McGuire, Angela (ELS-OXF)" userId="d4d105d8-9265-40c2-8bed-9c43b3b5f534" providerId="ADAL" clId="{8804E308-1B7B-481A-A97C-A63D97FF5AEE}" dt="2023-05-18T13:31:27.387" v="34" actId="20577"/>
        <pc:sldMkLst>
          <pc:docMk/>
          <pc:sldMk cId="4179949720" sldId="102280"/>
        </pc:sldMkLst>
      </pc:sldChg>
      <pc:sldChg chg="modNotesTx">
        <pc:chgData name="McGuire, Angela (ELS-OXF)" userId="d4d105d8-9265-40c2-8bed-9c43b3b5f534" providerId="ADAL" clId="{8804E308-1B7B-481A-A97C-A63D97FF5AEE}" dt="2023-05-18T13:30:59.279" v="30" actId="20577"/>
        <pc:sldMkLst>
          <pc:docMk/>
          <pc:sldMk cId="2432839094" sldId="102281"/>
        </pc:sldMkLst>
      </pc:sldChg>
      <pc:sldChg chg="modNotesTx">
        <pc:chgData name="McGuire, Angela (ELS-OXF)" userId="d4d105d8-9265-40c2-8bed-9c43b3b5f534" providerId="ADAL" clId="{8804E308-1B7B-481A-A97C-A63D97FF5AEE}" dt="2023-05-18T13:30:29.285" v="25" actId="20577"/>
        <pc:sldMkLst>
          <pc:docMk/>
          <pc:sldMk cId="694148353" sldId="102282"/>
        </pc:sldMkLst>
      </pc:sldChg>
      <pc:sldChg chg="modNotesTx">
        <pc:chgData name="McGuire, Angela (ELS-OXF)" userId="d4d105d8-9265-40c2-8bed-9c43b3b5f534" providerId="ADAL" clId="{8804E308-1B7B-481A-A97C-A63D97FF5AEE}" dt="2023-05-18T13:29:44.357" v="15" actId="20577"/>
        <pc:sldMkLst>
          <pc:docMk/>
          <pc:sldMk cId="1333064849" sldId="102283"/>
        </pc:sldMkLst>
      </pc:sldChg>
      <pc:sldChg chg="modNotesTx">
        <pc:chgData name="McGuire, Angela (ELS-OXF)" userId="d4d105d8-9265-40c2-8bed-9c43b3b5f534" providerId="ADAL" clId="{8804E308-1B7B-481A-A97C-A63D97FF5AEE}" dt="2023-05-18T13:30:24.597" v="24" actId="20577"/>
        <pc:sldMkLst>
          <pc:docMk/>
          <pc:sldMk cId="3626056244" sldId="102284"/>
        </pc:sldMkLst>
      </pc:sldChg>
      <pc:sldChg chg="modNotesTx">
        <pc:chgData name="McGuire, Angela (ELS-OXF)" userId="d4d105d8-9265-40c2-8bed-9c43b3b5f534" providerId="ADAL" clId="{8804E308-1B7B-481A-A97C-A63D97FF5AEE}" dt="2023-05-18T13:30:09.545" v="21" actId="20577"/>
        <pc:sldMkLst>
          <pc:docMk/>
          <pc:sldMk cId="3398049581" sldId="102285"/>
        </pc:sldMkLst>
      </pc:sldChg>
      <pc:sldChg chg="modNotesTx">
        <pc:chgData name="McGuire, Angela (ELS-OXF)" userId="d4d105d8-9265-40c2-8bed-9c43b3b5f534" providerId="ADAL" clId="{8804E308-1B7B-481A-A97C-A63D97FF5AEE}" dt="2023-05-18T13:28:49.186" v="7" actId="20577"/>
        <pc:sldMkLst>
          <pc:docMk/>
          <pc:sldMk cId="3633860262" sldId="102290"/>
        </pc:sldMkLst>
      </pc:sldChg>
      <pc:sldChg chg="modNotesTx">
        <pc:chgData name="McGuire, Angela (ELS-OXF)" userId="d4d105d8-9265-40c2-8bed-9c43b3b5f534" providerId="ADAL" clId="{8804E308-1B7B-481A-A97C-A63D97FF5AEE}" dt="2023-05-18T13:29:07.133" v="11" actId="20577"/>
        <pc:sldMkLst>
          <pc:docMk/>
          <pc:sldMk cId="1680191958" sldId="102291"/>
        </pc:sldMkLst>
      </pc:sldChg>
      <pc:sldMasterChg chg="delSldLayout">
        <pc:chgData name="McGuire, Angela (ELS-OXF)" userId="d4d105d8-9265-40c2-8bed-9c43b3b5f534" providerId="ADAL" clId="{8804E308-1B7B-481A-A97C-A63D97FF5AEE}" dt="2023-05-18T13:27:19.192" v="0" actId="2696"/>
        <pc:sldMasterMkLst>
          <pc:docMk/>
          <pc:sldMasterMk cId="1127558550" sldId="2147483648"/>
        </pc:sldMasterMkLst>
        <pc:sldLayoutChg chg="del">
          <pc:chgData name="McGuire, Angela (ELS-OXF)" userId="d4d105d8-9265-40c2-8bed-9c43b3b5f534" providerId="ADAL" clId="{8804E308-1B7B-481A-A97C-A63D97FF5AEE}" dt="2023-05-18T13:27:19.192" v="0" actId="2696"/>
          <pc:sldLayoutMkLst>
            <pc:docMk/>
            <pc:sldMasterMk cId="1127558550" sldId="2147483648"/>
            <pc:sldLayoutMk cId="932355108" sldId="2147483827"/>
          </pc:sldLayoutMkLst>
        </pc:sldLayoutChg>
      </pc:sldMasterChg>
      <pc:sldMasterChg chg="delSldLayout">
        <pc:chgData name="McGuire, Angela (ELS-OXF)" userId="d4d105d8-9265-40c2-8bed-9c43b3b5f534" providerId="ADAL" clId="{8804E308-1B7B-481A-A97C-A63D97FF5AEE}" dt="2023-05-18T13:27:19.192" v="0" actId="2696"/>
        <pc:sldMasterMkLst>
          <pc:docMk/>
          <pc:sldMasterMk cId="4174359953" sldId="2147483805"/>
        </pc:sldMasterMkLst>
        <pc:sldLayoutChg chg="del">
          <pc:chgData name="McGuire, Angela (ELS-OXF)" userId="d4d105d8-9265-40c2-8bed-9c43b3b5f534" providerId="ADAL" clId="{8804E308-1B7B-481A-A97C-A63D97FF5AEE}" dt="2023-05-18T13:27:19.192" v="0" actId="2696"/>
          <pc:sldLayoutMkLst>
            <pc:docMk/>
            <pc:sldMasterMk cId="4174359953" sldId="2147483805"/>
            <pc:sldLayoutMk cId="1795621022" sldId="2147483826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5FACC53-DC5A-474D-BF40-5DEE5F8B64A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176045F-ADB6-491B-962A-FF775ED846C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4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B6EFF9-8149-4B5D-A6E5-2AE8F4B33535}" type="datetimeFigureOut">
              <a:rPr lang="en-GB" smtClean="0">
                <a:latin typeface="Arial" panose="020B0604020202020204" pitchFamily="34" charset="0"/>
              </a:rPr>
              <a:t>05/10/2023</a:t>
            </a:fld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23ED0C-AA8B-40BA-B6F3-D505E74CA77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7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13853D-F1D8-47E4-9768-A371E326179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4" y="8685217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6E183A-C4E9-47DF-9822-C1FEB6FD02A0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84002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19DD4CF-C917-4D69-9374-6EFF2E9F78C3}" type="datetimeFigureOut">
              <a:rPr lang="en-GB" smtClean="0"/>
              <a:pPr/>
              <a:t>05/10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4588"/>
            <a:ext cx="5483225" cy="3084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1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7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4" y="8685217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A7443C7B-F938-4CE9-A268-32817172635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8740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1444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77503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27989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81730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915296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3141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88247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24324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78152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87775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27206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72378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13538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7443C7B-F938-4CE9-A268-32817172635B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3015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sv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3105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437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95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</a:t>
            </a:r>
            <a:br>
              <a:rPr lang="en-US" noProof="0"/>
            </a:br>
            <a:r>
              <a:rPr lang="en-US" noProof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83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</a:t>
            </a:r>
            <a:br>
              <a:rPr lang="en-US" noProof="0"/>
            </a:br>
            <a:r>
              <a:rPr lang="en-US" noProof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27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2994"/>
            </a:avLst>
          </a:prstGeom>
          <a:solidFill>
            <a:schemeClr val="accent6"/>
          </a:solidFill>
          <a:effectLst>
            <a:outerShdw blurRad="139700" dist="12700" dir="2700000" sx="101000" sy="101000" algn="t" rotWithShape="0">
              <a:srgbClr val="353535">
                <a:alpha val="41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196000" rIns="0" bIns="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7361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18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dark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6A4B26-CBD6-4EC3-9BB2-03D1059EC0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3147"/>
            </a:avLst>
          </a:prstGeom>
          <a:solidFill>
            <a:schemeClr val="accent6"/>
          </a:solidFill>
          <a:effectLst>
            <a:outerShdw blurRad="139700" dist="12700" dir="2700000" sx="101000" sy="101000" algn="ctr" rotWithShape="0">
              <a:prstClr val="black">
                <a:alpha val="41000"/>
              </a:prstClr>
            </a:outerShdw>
          </a:effectLst>
        </p:spPr>
        <p:txBody>
          <a:bodyPr tIns="2196000"/>
          <a:lstStyle>
            <a:lvl1pPr marL="0" indent="0" algn="ctr">
              <a:lnSpc>
                <a:spcPct val="100000"/>
              </a:lnSpc>
              <a:buFontTx/>
              <a:buNone/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83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088000"/>
          <a:lstStyle>
            <a:lvl1pPr marL="0" indent="0" algn="ctr">
              <a:buNone/>
              <a:defRPr/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93162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050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tabl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01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533" y="2325818"/>
            <a:ext cx="2929467" cy="281768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81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 noProof="0"/>
              <a:t>Drag picture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8A7EB86-3F9E-4A42-81FA-F215DE6BC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</p:spTree>
    <p:extLst>
      <p:ext uri="{BB962C8B-B14F-4D97-AF65-F5344CB8AC3E}">
        <p14:creationId xmlns:p14="http://schemas.microsoft.com/office/powerpoint/2010/main" val="219503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/>
            </a:lvl1pPr>
          </a:lstStyle>
          <a:p>
            <a:r>
              <a:rPr lang="en-US"/>
              <a:t>Drag </a:t>
            </a:r>
            <a:r>
              <a:rPr lang="en-US" noProof="0"/>
              <a:t>picture</a:t>
            </a:r>
            <a:r>
              <a:rPr lang="en-US"/>
              <a:t> into placehol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28E9124-E359-49E6-A14A-2497E35E51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176400" indent="-176400">
              <a:lnSpc>
                <a:spcPct val="100000"/>
              </a:lnSpc>
              <a:spcAft>
                <a:spcPts val="1200"/>
              </a:spcAft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A798CCC-F599-47BC-84EE-8CAA3D2206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46097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35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09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dar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8C401EA3-16A6-47D3-9D6E-A27DFE2287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88984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61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tabLst>
                <a:tab pos="1079500" algn="l"/>
              </a:tabLst>
              <a:defRPr/>
            </a:lvl1pPr>
          </a:lstStyle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21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20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4FCEF2CD-9A3A-421B-94C9-614952CA20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39295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bg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  <a:br>
              <a:rPr lang="en-US"/>
            </a:br>
            <a:r>
              <a:rPr lang="en-US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9B5CBCDE-5E13-4C2D-BD2B-A7F04116F6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35181"/>
          <a:stretch/>
        </p:blipFill>
        <p:spPr>
          <a:xfrm>
            <a:off x="0" y="-1"/>
            <a:ext cx="9144000" cy="797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815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956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CC9CF60C-F237-4C35-B5B9-DCAC15891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9DBEF-F615-45A1-AA51-C34CD01BC9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43A0FA-AB68-49F8-A8DA-E9F3A2F1B8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1F4F1C2-2D04-4080-9FD1-F04C6A852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14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6"/>
            <a:ext cx="7991475" cy="38973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8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4B0388-7C7E-45C3-A6E3-3E637FAB2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DC33F9F-6CBB-499E-A399-F579A1C082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B278D-E37B-46DC-954C-589B0EF3EA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826578-F514-4D23-8B3F-F3016B7CA92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34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2"/>
          <p:cNvSpPr>
            <a:spLocks noGrp="1"/>
          </p:cNvSpPr>
          <p:nvPr>
            <p:ph sz="quarter" idx="16" hasCustomPrompt="1"/>
          </p:nvPr>
        </p:nvSpPr>
        <p:spPr>
          <a:xfrm>
            <a:off x="576263" y="835025"/>
            <a:ext cx="7991475" cy="38973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0FE40DE-7E7D-4146-AB2D-5551E7E741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B1770B-7A94-4844-AD38-CF8FB3080003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F74F79-D68A-45F4-B9C7-F1CCDF9519A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356A03-20E1-4E11-AF69-2080BD58C14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97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4859338" y="835026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 baseline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1EA73AF-7637-4A6C-A4B0-311EBFC6D9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14264F-6D72-4F24-8CD7-BE495E8BB68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3CD3D90-6931-458C-A0AF-D2BBC25C8663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E8558DF-C777-4C31-85A8-21E662F0A5EB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30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F59E71B1-F750-4435-986C-7F9EF20560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29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859338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/>
            </a:lvl1pPr>
            <a:lvl2pPr marL="287338" indent="-287338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872E2A8-E205-4778-8440-C86A31617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E4B11B-E592-4BB9-AE34-F70CB195E72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F1A4215-8A59-48E0-8F12-9F23CA60220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294D08-94E6-49A2-9DF7-398509396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36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</a:t>
            </a:r>
            <a:br>
              <a:rPr lang="en-US" noProof="0"/>
            </a:br>
            <a:r>
              <a:rPr lang="en-US" noProof="0"/>
              <a:t>or click icon to add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370840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1301CE-B3DE-49E1-B3B2-EA2475A78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195263"/>
            <a:ext cx="3708400" cy="504825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3F7EFBD-DB9C-45C5-9F2E-C46AEC5F67D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3377E4-E0A6-4CAB-B97D-2004235209B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FCB58-7D88-4A1A-B1DD-02B1B052F520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3925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4572000" cy="5143500"/>
          </a:xfrm>
          <a:prstGeom prst="rect">
            <a:avLst/>
          </a:prstGeom>
          <a:solidFill>
            <a:schemeClr val="accent6"/>
          </a:solidFill>
        </p:spPr>
        <p:txBody>
          <a:bodyPr tIns="2916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</a:t>
            </a:r>
            <a:br>
              <a:rPr lang="en-US" noProof="0"/>
            </a:br>
            <a:r>
              <a:rPr lang="en-US" noProof="0"/>
              <a:t>or click icon to add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4859338" y="835025"/>
            <a:ext cx="3681797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AEE6764-BCD9-4C0F-8D7F-6DAB3E0116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9338" y="195263"/>
            <a:ext cx="3681797" cy="504825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0B3F087-DB20-4A94-AB80-B37ECB4779CB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9C6D60D1-99A0-4A98-BC8E-3EF57AA9400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6BAC64-3B0D-463F-8B20-473CDA4BD824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61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5946856-8546-4DA9-9A8E-E5AE5A89C49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75E8465-767D-44BA-B892-E9FA43E13D5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786D917-89B9-4999-9898-0406930D63B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46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large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505335" y="835025"/>
            <a:ext cx="5062402" cy="3897313"/>
          </a:xfrm>
          <a:prstGeom prst="roundRect">
            <a:avLst>
              <a:gd name="adj" fmla="val 4402"/>
            </a:avLst>
          </a:prstGeom>
          <a:solidFill>
            <a:schemeClr val="accent6"/>
          </a:solidFill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2232000" rIns="0" bIns="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76264" y="835025"/>
            <a:ext cx="2641070" cy="38973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charset="0"/>
              <a:buNone/>
              <a:defRPr sz="1600" b="0"/>
            </a:lvl1pPr>
            <a:lvl2pPr marL="360363" indent="-360363">
              <a:lnSpc>
                <a:spcPct val="100000"/>
              </a:lnSpc>
              <a:buFont typeface="+mj-lt"/>
              <a:buAutoNum type="arabicPeriod"/>
              <a:defRPr sz="1600" b="0"/>
            </a:lvl2pPr>
            <a:lvl3pPr marL="365125" indent="0">
              <a:lnSpc>
                <a:spcPct val="100000"/>
              </a:lnSpc>
              <a:buFont typeface="Arial" charset="0"/>
              <a:buNone/>
              <a:defRPr sz="1600" b="0"/>
            </a:lvl3pPr>
            <a:lvl4pPr marL="549275" indent="0">
              <a:lnSpc>
                <a:spcPct val="100000"/>
              </a:lnSpc>
              <a:buNone/>
              <a:tabLst/>
              <a:defRPr sz="1600" b="0"/>
            </a:lvl4pPr>
            <a:lvl5pPr marL="725488" indent="0">
              <a:lnSpc>
                <a:spcPct val="100000"/>
              </a:lnSpc>
              <a:buFont typeface="Arial" charset="0"/>
              <a:buNone/>
              <a:defRPr sz="1600" b="0" baseline="0"/>
            </a:lvl5pPr>
          </a:lstStyle>
          <a:p>
            <a:pPr lvl="0"/>
            <a:r>
              <a:rPr lang="en-US"/>
              <a:t>Click to add tex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B6A0F-FAB0-4F8C-9459-30EDA0835272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9A77CE-E662-481F-BCC4-5E6BB30CACEC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D6AD45-0EAC-4DBD-8C61-C0F4ACB53601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2C27FB-C163-4802-BBE9-1194F6A07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93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ect">
            <a:avLst/>
          </a:prstGeom>
          <a:solidFill>
            <a:schemeClr val="accent6"/>
          </a:solidFill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77FD35B-6C0E-42DE-85B1-6521194AA6A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B11B6FB-578C-4F3B-A98D-5AF9DECFC4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18D1FF-B499-48AE-A463-FCD1B03277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704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image (right small)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4859336" y="835025"/>
            <a:ext cx="3708401" cy="3897313"/>
          </a:xfrm>
          <a:prstGeom prst="roundRect">
            <a:avLst>
              <a:gd name="adj" fmla="val 4626"/>
            </a:avLst>
          </a:prstGeom>
          <a:solidFill>
            <a:schemeClr val="accent6"/>
          </a:solidFill>
          <a:effectLst/>
        </p:spPr>
        <p:txBody>
          <a:bodyPr tIns="2232000"/>
          <a:lstStyle>
            <a:lvl1pPr marL="0" indent="0" algn="ctr">
              <a:lnSpc>
                <a:spcPct val="100000"/>
              </a:lnSpc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1526E6-52FE-4A12-AF1B-B37A25A00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7DD8DB3-C531-4BAF-94DF-B0A78EC7175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344BE83-BA14-49B6-A392-4BAD50F860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F0C4FF9-2E18-439F-BB75-2227EBAD588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25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(w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D87977-6410-4861-821B-247A28DFF45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76263" y="835025"/>
            <a:ext cx="7991475" cy="3897313"/>
          </a:xfrm>
          <a:solidFill>
            <a:schemeClr val="accent6"/>
          </a:solidFill>
        </p:spPr>
        <p:txBody>
          <a:bodyPr tIns="223200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56652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with video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61EF6098-F062-48C8-804B-4CB80BE90332}"/>
              </a:ext>
            </a:extLst>
          </p:cNvPr>
          <p:cNvSpPr>
            <a:spLocks noGrp="1"/>
          </p:cNvSpPr>
          <p:nvPr>
            <p:ph type="media" sz="quarter" idx="17" hasCustomPrompt="1"/>
          </p:nvPr>
        </p:nvSpPr>
        <p:spPr>
          <a:xfrm>
            <a:off x="0" y="0"/>
            <a:ext cx="9144000" cy="5143500"/>
          </a:xfrm>
          <a:solidFill>
            <a:srgbClr val="3E4043">
              <a:alpha val="14902"/>
            </a:srgb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SzTx/>
              <a:buFont typeface="Arial" panose="020B0604020202020204" pitchFamily="34" charset="0"/>
              <a:buNone/>
              <a:tabLst>
                <a:tab pos="266700" algn="l"/>
              </a:tabLst>
              <a:defRPr/>
            </a:pPr>
            <a:r>
              <a:rPr lang="en-US" noProof="0"/>
              <a:t>Drag movie to placeholder or click icon to add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E8C169-6D44-4FAB-8862-F0E9E8469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3" y="4227513"/>
            <a:ext cx="7991474" cy="5048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840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3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able Placeholder 6"/>
          <p:cNvSpPr>
            <a:spLocks noGrp="1"/>
          </p:cNvSpPr>
          <p:nvPr>
            <p:ph type="tbl" sz="quarter" idx="16"/>
          </p:nvPr>
        </p:nvSpPr>
        <p:spPr>
          <a:xfrm>
            <a:off x="576261" y="835024"/>
            <a:ext cx="7990394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tabl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BA7FD14-63CD-42B5-8123-E0D2D06AE6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D40CD0-E62A-40D6-A9A7-E90A7941CF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871E6EE-F796-4FC9-A7D0-4C318002A7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AA59B62-65E5-4805-9C65-6AB0D3219CE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960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7704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6EEE115E-9A03-449B-92F1-3CD40794A0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900" y="2057400"/>
            <a:ext cx="3086100" cy="30861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76262" y="835024"/>
            <a:ext cx="5990400" cy="3168000"/>
          </a:xfrm>
          <a:prstGeom prst="rect">
            <a:avLst/>
          </a:prstGeom>
        </p:spPr>
        <p:txBody>
          <a:bodyPr lIns="0" tIns="0" rIns="0">
            <a:normAutofit/>
          </a:bodyPr>
          <a:lstStyle>
            <a:lvl1pPr marL="0" indent="0">
              <a:lnSpc>
                <a:spcPct val="100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0A140A6-5D0E-4488-95CA-4733486F59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B200B3A-B3FB-4A32-A145-4E221A432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DC275C-83AD-4E74-9F99-2A21F1C78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14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white text - on dark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Drag picture into placeholder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5FDA8F-E5DE-42B3-BE10-7B8BCDC83F2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6D733F-B7CE-451D-A09C-370A3D494B3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4006D7-7C1F-4025-93C7-D6BFDD015AC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465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dark text - on ligh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Drag </a:t>
            </a:r>
            <a:r>
              <a:rPr lang="en-US" noProof="0"/>
              <a:t>picture</a:t>
            </a:r>
            <a:r>
              <a:rPr lang="en-US"/>
              <a:t> into placeholder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43C7E15-6A7F-304C-9E96-52D4906FD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835024"/>
            <a:ext cx="5976000" cy="3168000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>
              <a:lnSpc>
                <a:spcPct val="100000"/>
              </a:lnSpc>
              <a:defRPr sz="3600">
                <a:solidFill>
                  <a:srgbClr val="53565A"/>
                </a:solidFill>
              </a:defRPr>
            </a:lvl1pPr>
          </a:lstStyle>
          <a:p>
            <a:r>
              <a:rPr lang="en-US"/>
              <a:t>“Quote”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B5D03DB-E24A-4B52-B9D9-B3D6DF21389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8D1E53-7D02-44DA-8691-6E53E6200A0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AB17E-1E0B-4FA0-982D-17BEFEF877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52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226F7B-C707-4C07-B686-02CD29F0CA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6263" y="1944888"/>
            <a:ext cx="3708400" cy="1594378"/>
          </a:xfrm>
        </p:spPr>
        <p:txBody>
          <a:bodyPr/>
          <a:lstStyle>
            <a:lvl1pPr marL="0" indent="0">
              <a:buNone/>
              <a:tabLst/>
              <a:defRPr lang="en-US" sz="5000" kern="12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osing lin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330700"/>
            <a:ext cx="5112709" cy="44886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Department</a:t>
            </a:r>
            <a:br>
              <a:rPr lang="en-US"/>
            </a:br>
            <a:r>
              <a:rPr lang="en-US"/>
              <a:t>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C1E151E-40BD-4BA6-BA47-B4CC88EEAB3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8265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7990393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73F1347-FE67-40E4-AA2D-310D37787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490D2E0-D57F-4A41-BD5C-3583FF074B3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4C421E-5D95-451E-8949-471305E9407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9D60DA-BD57-4569-90FD-32EA726464E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15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4859339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834831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42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3708400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59339" y="835025"/>
            <a:ext cx="3708400" cy="390061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600" b="0" baseline="0"/>
            </a:lvl1pPr>
            <a:lvl2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300" b="0"/>
            </a:lvl2pPr>
            <a:lvl3pPr marL="447675" indent="-174625">
              <a:lnSpc>
                <a:spcPct val="100000"/>
              </a:lnSpc>
              <a:buFont typeface="Arial" panose="020B0604020202020204" pitchFamily="34" charset="0"/>
              <a:buChar char="−"/>
              <a:defRPr sz="1400" b="0"/>
            </a:lvl3pPr>
            <a:lvl4pPr marL="623888" indent="-176213">
              <a:lnSpc>
                <a:spcPct val="100000"/>
              </a:lnSpc>
              <a:tabLst/>
              <a:defRPr sz="1400" b="0"/>
            </a:lvl4pPr>
            <a:lvl5pPr marL="809625" indent="-185738">
              <a:lnSpc>
                <a:spcPct val="100000"/>
              </a:lnSpc>
              <a:defRPr sz="1400" b="0"/>
            </a:lvl5pPr>
            <a:lvl6pPr marL="1714500" indent="0">
              <a:buNone/>
              <a:defRPr/>
            </a:lvl6pPr>
          </a:lstStyle>
          <a:p>
            <a:pPr lvl="0"/>
            <a:r>
              <a:rPr lang="en-US"/>
              <a:t>Click to add text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  <a:p>
            <a:pPr lvl="0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544DA18-BA2E-49AF-B2A3-110A868A5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0B1EFA-FE5D-49F8-A5F8-64954B1A72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35A3B56-08BB-4B0C-8F45-D0C01C59B0B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001A6C6-F35F-4B8D-9A93-636EA444ED2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5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4859337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14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2" y="835024"/>
            <a:ext cx="3708401" cy="3897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897C3F8B-AA01-47E2-9CB3-C8B5B86F1B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D27E724-76AC-43CB-8150-488BD4B602E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402BF66-0833-4D31-80F3-93788D9D40C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46FAC6A-2EDD-45F1-BB2D-4D0B78A0510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43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5"/>
          </p:nvPr>
        </p:nvSpPr>
        <p:spPr>
          <a:xfrm>
            <a:off x="576263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8" name="Chart Placeholder 5"/>
          <p:cNvSpPr>
            <a:spLocks noGrp="1"/>
          </p:cNvSpPr>
          <p:nvPr>
            <p:ph type="chart" sz="quarter" idx="18"/>
          </p:nvPr>
        </p:nvSpPr>
        <p:spPr>
          <a:xfrm>
            <a:off x="3336087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9" name="Chart Placeholder 5"/>
          <p:cNvSpPr>
            <a:spLocks noGrp="1"/>
          </p:cNvSpPr>
          <p:nvPr>
            <p:ph type="chart" sz="quarter" idx="19"/>
          </p:nvPr>
        </p:nvSpPr>
        <p:spPr>
          <a:xfrm>
            <a:off x="6095912" y="835025"/>
            <a:ext cx="2471825" cy="38988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/>
            </a:lvl1pPr>
          </a:lstStyle>
          <a:p>
            <a:r>
              <a:rPr lang="en-US" noProof="0"/>
              <a:t>Click icon to add chart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6AC3EB6-1B81-4F6E-9980-641B2C288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B0E28DA-F910-4040-B42A-86EE40EE144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2FDF0E6-F08C-4144-89DF-E19E4D5C05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51FF921-569A-4A54-859C-5F61B641D59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298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orange and gray text and whit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chtergrondBeeld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E4043">
              <a:alpha val="14902"/>
            </a:srgbClr>
          </a:solidFill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1600" baseline="0"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E6E70A5-8AF3-4A7A-B204-A2BBA10353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9311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6263" y="4411227"/>
            <a:ext cx="5112709" cy="490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 sz="1300"/>
            </a:lvl1pPr>
            <a:lvl2pPr marL="0" indent="0">
              <a:buNone/>
              <a:defRPr sz="1000"/>
            </a:lvl2pPr>
            <a:lvl3pPr marL="0" indent="0">
              <a:buNone/>
              <a:defRPr sz="1000"/>
            </a:lvl3pPr>
            <a:lvl4pPr marL="0" indent="0">
              <a:buNone/>
              <a:defRPr sz="1000"/>
            </a:lvl4pPr>
            <a:lvl5pPr marL="0" indent="0">
              <a:buNone/>
              <a:defRPr sz="1000"/>
            </a:lvl5pPr>
          </a:lstStyle>
          <a:p>
            <a:pPr lvl="0"/>
            <a:r>
              <a:rPr lang="en-US"/>
              <a:t>Month, year</a:t>
            </a:r>
            <a:br>
              <a:rPr lang="en-US"/>
            </a:br>
            <a:r>
              <a:rPr lang="en-US"/>
              <a:t>Name presenter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76263" y="1659467"/>
            <a:ext cx="5112709" cy="1744133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algn="l">
              <a:lnSpc>
                <a:spcPct val="100000"/>
              </a:lnSpc>
              <a:defRPr sz="3800">
                <a:solidFill>
                  <a:srgbClr val="53565A"/>
                </a:solidFill>
              </a:defRPr>
            </a:lvl1pPr>
          </a:lstStyle>
          <a:p>
            <a:r>
              <a:rPr lang="en-US" noProof="0"/>
              <a:t>Click to edit title max over 2x lin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76263" y="3488267"/>
            <a:ext cx="5112709" cy="762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FF6C00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D1E7E9-0B74-D54C-8C9A-067E1D0C0E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4178" y="1283678"/>
            <a:ext cx="3859822" cy="3859822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8A0C770-19FC-43E2-AEE2-B18B053BE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369888"/>
            <a:ext cx="552450" cy="6096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.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138993" cy="797661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76264" y="1063626"/>
            <a:ext cx="7991474" cy="15652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lnSpc>
                <a:spcPct val="100000"/>
              </a:lnSpc>
              <a:buNone/>
              <a:defRPr sz="4000">
                <a:solidFill>
                  <a:schemeClr val="tx1"/>
                </a:solidFill>
              </a:defRPr>
            </a:lvl1pPr>
            <a:lvl2pPr marL="3429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2pPr>
            <a:lvl3pPr marL="6858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3pPr>
            <a:lvl4pPr marL="10287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4pPr>
            <a:lvl5pPr marL="1371600" indent="0">
              <a:lnSpc>
                <a:spcPts val="3600"/>
              </a:lnSpc>
              <a:buNone/>
              <a:defRPr sz="3000">
                <a:solidFill>
                  <a:srgbClr val="FF6C00"/>
                </a:solidFill>
              </a:defRPr>
            </a:lvl5pPr>
          </a:lstStyle>
          <a:p>
            <a:pPr lvl="0"/>
            <a:r>
              <a:rPr lang="en-US"/>
              <a:t>Click to edit title</a:t>
            </a:r>
            <a:br>
              <a:rPr lang="en-US"/>
            </a:br>
            <a:r>
              <a:rPr lang="en-US"/>
              <a:t>max over 2 lin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76264" y="2641599"/>
            <a:ext cx="7991474" cy="660401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en-US"/>
              <a:t>Subtitl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6EA6FA-95FE-4F8F-85EC-1FAC96E3B7C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310452-B107-48F7-82C4-83CEEEAF2C7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B5289F-FA18-43F2-8D12-2C70CDD7C8F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576262" y="835025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88000" indent="-288000">
              <a:defRPr lang="en-GB" dirty="0"/>
            </a:lvl1pPr>
          </a:lstStyle>
          <a:p>
            <a:pPr marL="285750" lvl="0" indent="-285750">
              <a:lnSpc>
                <a:spcPct val="100000"/>
              </a:lnSpc>
            </a:pPr>
            <a:r>
              <a:rPr lang="en-US"/>
              <a:t>Click to edit Master text styl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0D682A7-E09E-481B-B790-3AF34F8C4E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3A9B50-46B5-4E97-BF86-927797BF349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1E6D825-B685-43C9-80D2-C60FD7D0785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B9D7424-FFC1-4F16-B297-C0AF041229F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60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image" Target="../media/image4.svg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928590-4084-6B40-8DED-B4F8C98BED1B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558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2" r:id="rId2"/>
    <p:sldLayoutId id="2147483803" r:id="rId3"/>
    <p:sldLayoutId id="2147483660" r:id="rId4"/>
    <p:sldLayoutId id="2147483802" r:id="rId5"/>
    <p:sldLayoutId id="2147483804" r:id="rId6"/>
    <p:sldLayoutId id="2147483701" r:id="rId7"/>
    <p:sldLayoutId id="2147483734" r:id="rId8"/>
    <p:sldLayoutId id="2147483650" r:id="rId9"/>
    <p:sldLayoutId id="2147483735" r:id="rId10"/>
    <p:sldLayoutId id="2147483708" r:id="rId11"/>
    <p:sldLayoutId id="2147483662" r:id="rId12"/>
    <p:sldLayoutId id="2147483703" r:id="rId13"/>
    <p:sldLayoutId id="2147483696" r:id="rId14"/>
    <p:sldLayoutId id="2147483663" r:id="rId15"/>
    <p:sldLayoutId id="2147483698" r:id="rId16"/>
    <p:sldLayoutId id="2147483699" r:id="rId17"/>
    <p:sldLayoutId id="2147483737" r:id="rId18"/>
    <p:sldLayoutId id="2147483666" r:id="rId19"/>
    <p:sldLayoutId id="2147483736" r:id="rId20"/>
    <p:sldLayoutId id="2147483738" r:id="rId21"/>
    <p:sldLayoutId id="2147483767" r:id="rId22"/>
    <p:sldLayoutId id="2147483669" r:id="rId23"/>
    <p:sldLayoutId id="2147483665" r:id="rId24"/>
    <p:sldLayoutId id="2147483664" r:id="rId25"/>
    <p:sldLayoutId id="2147483709" r:id="rId26"/>
    <p:sldLayoutId id="2147483670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7">
            <a:extLst>
              <a:ext uri="{FF2B5EF4-FFF2-40B4-BE49-F238E27FC236}">
                <a16:creationId xmlns:a16="http://schemas.microsoft.com/office/drawing/2014/main" id="{8D5161C8-EE77-4377-B6B1-7E9C29CB9F0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67737" y="198501"/>
            <a:ext cx="401839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582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88" r:id="rId2"/>
    <p:sldLayoutId id="2147483792" r:id="rId3"/>
    <p:sldLayoutId id="2147483790" r:id="rId4"/>
    <p:sldLayoutId id="214748379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D2B5B76-D48B-486B-B148-17C02F22EB4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54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801" r:id="rId16"/>
    <p:sldLayoutId id="2147483762" r:id="rId17"/>
    <p:sldLayoutId id="2147483763" r:id="rId18"/>
    <p:sldLayoutId id="2147483764" r:id="rId19"/>
    <p:sldLayoutId id="2147483765" r:id="rId20"/>
    <p:sldLayoutId id="2147483766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E2E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4961769"/>
            <a:ext cx="20592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961769"/>
            <a:ext cx="30861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6263" y="195263"/>
            <a:ext cx="7821950" cy="5048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576263" y="835024"/>
            <a:ext cx="7991475" cy="3897313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5DEE88-71BA-4950-8D35-00B2B8E793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77" y="4961769"/>
            <a:ext cx="389103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82F89014-7F8D-47C1-8D79-17A715C9D2B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2B01DC-AA4B-4B09-A9C1-2490348EB46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8570538" y="198501"/>
            <a:ext cx="396236" cy="44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072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•"/>
        <a:tabLst>
          <a:tab pos="266700" algn="l"/>
        </a:tabLst>
        <a:defRPr lang="nl-NL" sz="180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46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Arial" panose="020B0604020202020204" pitchFamily="34" charset="0"/>
        <a:buChar char="−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4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2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nl-NL" sz="160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008000" indent="-180000" algn="l" defTabSz="685800" rtl="0" eaLnBrk="1" latinLnBrk="0" hangingPunct="1">
        <a:lnSpc>
          <a:spcPct val="100000"/>
        </a:lnSpc>
        <a:spcBef>
          <a:spcPts val="375"/>
        </a:spcBef>
        <a:spcAft>
          <a:spcPts val="600"/>
        </a:spcAft>
        <a:buClr>
          <a:srgbClr val="FF6C00"/>
        </a:buClr>
        <a:buFont typeface="Courier New" panose="02070309020205020404" pitchFamily="49" charset="0"/>
        <a:buChar char="o"/>
        <a:defRPr lang="de-DE" sz="160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1809750" indent="-1952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63" indent="-17621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33625" indent="-182563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598738" indent="-177800" algn="l" defTabSz="685800" rtl="0" eaLnBrk="1" latinLnBrk="0" hangingPunct="1">
        <a:lnSpc>
          <a:spcPct val="90000"/>
        </a:lnSpc>
        <a:spcBef>
          <a:spcPts val="375"/>
        </a:spcBef>
        <a:buClr>
          <a:srgbClr val="FF6C00"/>
        </a:buClr>
        <a:buFont typeface="Courier New" panose="02070309020205020404" pitchFamily="49" charset="0"/>
        <a:buChar char="o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63">
          <p15:clr>
            <a:srgbClr val="F26B43"/>
          </p15:clr>
        </p15:guide>
        <p15:guide id="2" pos="2880">
          <p15:clr>
            <a:srgbClr val="F26B43"/>
          </p15:clr>
        </p15:guide>
        <p15:guide id="3" pos="2699">
          <p15:clr>
            <a:srgbClr val="F26B43"/>
          </p15:clr>
        </p15:guide>
        <p15:guide id="4" pos="3061">
          <p15:clr>
            <a:srgbClr val="F26B43"/>
          </p15:clr>
        </p15:guide>
        <p15:guide id="5" pos="5397">
          <p15:clr>
            <a:srgbClr val="F26B43"/>
          </p15:clr>
        </p15:guide>
        <p15:guide id="6" orient="horz" pos="526" userDrawn="1">
          <p15:clr>
            <a:srgbClr val="F26B43"/>
          </p15:clr>
        </p15:guide>
        <p15:guide id="9" orient="horz" pos="441" userDrawn="1">
          <p15:clr>
            <a:srgbClr val="F26B43"/>
          </p15:clr>
        </p15:guide>
        <p15:guide id="10" orient="horz" pos="123" userDrawn="1">
          <p15:clr>
            <a:srgbClr val="F26B43"/>
          </p15:clr>
        </p15:guide>
        <p15:guide id="11" orient="horz" pos="3003" userDrawn="1">
          <p15:clr>
            <a:srgbClr val="547EBF"/>
          </p15:clr>
        </p15:guide>
        <p15:guide id="12" pos="5647" userDrawn="1">
          <p15:clr>
            <a:srgbClr val="547EBF"/>
          </p15:clr>
        </p15:guide>
        <p15:guide id="13" orient="horz" pos="3185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hyperlink" Target="https://www.elsevier.com/__data/assets/pdf_file/0007/69451/Scopus_ContentCoverage_Guide_WEB.pdf" TargetMode="External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FD8347-4804-47F1-98FB-1E11456E58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6263" y="3990110"/>
            <a:ext cx="5112709" cy="818840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2"/>
                </a:solidFill>
              </a:rPr>
              <a:t>Silvia Dobre*, Rachel Herbert*, Diana Hicks**</a:t>
            </a:r>
          </a:p>
          <a:p>
            <a:endParaRPr lang="en-US" dirty="0">
              <a:solidFill>
                <a:schemeClr val="tx2"/>
              </a:solidFill>
            </a:endParaRPr>
          </a:p>
          <a:p>
            <a:r>
              <a:rPr lang="en-US" dirty="0">
                <a:solidFill>
                  <a:schemeClr val="tx2"/>
                </a:solidFill>
              </a:rPr>
              <a:t>* </a:t>
            </a:r>
            <a:r>
              <a:rPr lang="en-GB" dirty="0">
                <a:solidFill>
                  <a:schemeClr val="tx2"/>
                </a:solidFill>
              </a:rPr>
              <a:t>International Center for the Study of Research, Elsevier</a:t>
            </a:r>
          </a:p>
          <a:p>
            <a:r>
              <a:rPr lang="en-GB" dirty="0">
                <a:solidFill>
                  <a:schemeClr val="tx2"/>
                </a:solidFill>
              </a:rPr>
              <a:t>** School of Public Policy, Georgia Institute of Technology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46164F-14D7-4C97-AFFF-0E08E03824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GB" dirty="0">
                <a:solidFill>
                  <a:schemeClr val="tx2"/>
                </a:solidFill>
              </a:rPr>
              <a:t>Trade press as pathways to impact </a:t>
            </a:r>
            <a:br>
              <a:rPr lang="en-US" dirty="0">
                <a:solidFill>
                  <a:schemeClr val="tx2"/>
                </a:solidFill>
              </a:rPr>
            </a:b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D43E2E1-D8D0-428F-9CE1-98FD10199A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E7E2D03-A907-CA57-980C-4A715D18E8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0159" y="463666"/>
            <a:ext cx="2314005" cy="462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A4E6EF9-4A2D-6DE6-78F3-858581FC73D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263" y="3092335"/>
            <a:ext cx="4519612" cy="977898"/>
          </a:xfrm>
        </p:spPr>
        <p:txBody>
          <a:bodyPr>
            <a:normAutofit/>
          </a:bodyPr>
          <a:lstStyle/>
          <a:p>
            <a:r>
              <a:rPr lang="en-US" dirty="0"/>
              <a:t>NWB 2023</a:t>
            </a:r>
          </a:p>
        </p:txBody>
      </p:sp>
    </p:spTree>
    <p:extLst>
      <p:ext uri="{BB962C8B-B14F-4D97-AF65-F5344CB8AC3E}">
        <p14:creationId xmlns:p14="http://schemas.microsoft.com/office/powerpoint/2010/main" val="637582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90C302-5449-AB4F-B2B0-9640C56FC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What types of sources are cited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2968D0-6F04-F110-9DA2-FC52B10537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263" y="835025"/>
            <a:ext cx="5496686" cy="29366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3D7D737-B5ED-2684-11C6-26E85FCAB06B}"/>
              </a:ext>
            </a:extLst>
          </p:cNvPr>
          <p:cNvSpPr txBox="1"/>
          <p:nvPr/>
        </p:nvSpPr>
        <p:spPr>
          <a:xfrm>
            <a:off x="576262" y="4016087"/>
            <a:ext cx="79914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 of the references cited by trade press publications are to peer-reviewed journals (PRJ): 38%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6487DFB-E0BE-030F-02DC-A8C1D8FCFB0B}"/>
              </a:ext>
            </a:extLst>
          </p:cNvPr>
          <p:cNvSpPr txBox="1">
            <a:spLocks/>
          </p:cNvSpPr>
          <p:nvPr/>
        </p:nvSpPr>
        <p:spPr>
          <a:xfrm>
            <a:off x="8716272" y="4869656"/>
            <a:ext cx="320040" cy="1714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637F1898-EC4E-5143-A11B-97469EC78C6E}" type="slidenum">
              <a:rPr lang="en-AU" sz="800" smtClean="0">
                <a:solidFill>
                  <a:srgbClr val="85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457200">
                <a:defRPr/>
              </a:pPr>
              <a:t>10</a:t>
            </a:fld>
            <a:endParaRPr lang="en-AU" sz="800" dirty="0">
              <a:solidFill>
                <a:srgbClr val="85858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3246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A2F0785-2998-409D-4261-CACC7349BC0C}"/>
              </a:ext>
            </a:extLst>
          </p:cNvPr>
          <p:cNvCxnSpPr>
            <a:cxnSpLocks/>
          </p:cNvCxnSpPr>
          <p:nvPr/>
        </p:nvCxnSpPr>
        <p:spPr>
          <a:xfrm flipH="1">
            <a:off x="2181458" y="2596263"/>
            <a:ext cx="388996" cy="1482694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A7D4FE53-04B8-E849-92C2-15EA788E66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00088"/>
            <a:ext cx="9144000" cy="388631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D237C6E-581F-5949-FD84-F9989DB63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Trade press as pathways to impact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D4571D-FFC6-8934-EEBD-FBF41563C593}"/>
              </a:ext>
            </a:extLst>
          </p:cNvPr>
          <p:cNvSpPr txBox="1">
            <a:spLocks/>
          </p:cNvSpPr>
          <p:nvPr/>
        </p:nvSpPr>
        <p:spPr>
          <a:xfrm>
            <a:off x="8716272" y="4869656"/>
            <a:ext cx="320040" cy="1714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637F1898-EC4E-5143-A11B-97469EC78C6E}" type="slidenum">
              <a:rPr lang="en-AU" sz="800" smtClean="0">
                <a:solidFill>
                  <a:srgbClr val="85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457200">
                <a:defRPr/>
              </a:pPr>
              <a:t>11</a:t>
            </a:fld>
            <a:endParaRPr lang="en-AU" sz="800" dirty="0">
              <a:solidFill>
                <a:srgbClr val="85858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Content Placeholder 19" descr="World outline">
            <a:extLst>
              <a:ext uri="{FF2B5EF4-FFF2-40B4-BE49-F238E27FC236}">
                <a16:creationId xmlns:a16="http://schemas.microsoft.com/office/drawing/2014/main" id="{86388BE9-EDBF-EAA5-B641-9C9451A911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656351" y="4565126"/>
            <a:ext cx="601824" cy="60182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26FB37-CFBC-6CE3-1A8A-7A9420BACC63}"/>
              </a:ext>
            </a:extLst>
          </p:cNvPr>
          <p:cNvSpPr txBox="1"/>
          <p:nvPr/>
        </p:nvSpPr>
        <p:spPr>
          <a:xfrm>
            <a:off x="1362862" y="1772691"/>
            <a:ext cx="7304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38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5CFCEFD-9E9E-750D-98BE-39BF22A10F5D}"/>
              </a:ext>
            </a:extLst>
          </p:cNvPr>
          <p:cNvSpPr txBox="1"/>
          <p:nvPr/>
        </p:nvSpPr>
        <p:spPr>
          <a:xfrm>
            <a:off x="1450983" y="3138554"/>
            <a:ext cx="7304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4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C713E44-251C-3911-0A60-59C8D40A86AF}"/>
              </a:ext>
            </a:extLst>
          </p:cNvPr>
          <p:cNvSpPr txBox="1"/>
          <p:nvPr/>
        </p:nvSpPr>
        <p:spPr>
          <a:xfrm>
            <a:off x="1085746" y="2226931"/>
            <a:ext cx="7304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2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F06A5FD-B8AE-EC42-1838-B8AEA4CD9A85}"/>
              </a:ext>
            </a:extLst>
          </p:cNvPr>
          <p:cNvSpPr txBox="1"/>
          <p:nvPr/>
        </p:nvSpPr>
        <p:spPr>
          <a:xfrm>
            <a:off x="1366968" y="2689675"/>
            <a:ext cx="73047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4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0744153-A8A8-99CD-29EA-E1704E459FAC}"/>
              </a:ext>
            </a:extLst>
          </p:cNvPr>
          <p:cNvSpPr txBox="1"/>
          <p:nvPr/>
        </p:nvSpPr>
        <p:spPr>
          <a:xfrm>
            <a:off x="1656351" y="3649125"/>
            <a:ext cx="73047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52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57C242-DE8A-90F3-F6CE-96AFF1AE3ED7}"/>
              </a:ext>
            </a:extLst>
          </p:cNvPr>
          <p:cNvSpPr txBox="1"/>
          <p:nvPr/>
        </p:nvSpPr>
        <p:spPr>
          <a:xfrm>
            <a:off x="1364613" y="4146577"/>
            <a:ext cx="11888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Not indexed in Scopus</a:t>
            </a:r>
          </a:p>
        </p:txBody>
      </p:sp>
    </p:spTree>
    <p:extLst>
      <p:ext uri="{BB962C8B-B14F-4D97-AF65-F5344CB8AC3E}">
        <p14:creationId xmlns:p14="http://schemas.microsoft.com/office/powerpoint/2010/main" val="3063115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DF936F8-058C-D468-C3FE-8FA12406D5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9930" y="835026"/>
            <a:ext cx="4184683" cy="195824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F69EF02-EBB9-6DE4-14E4-36E5D1565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2" y="195263"/>
            <a:ext cx="7991475" cy="504825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What proportion of trade press is cited? 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8EAF4B9-2FFE-CF51-DF63-C8E0F7FCED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263" y="835026"/>
            <a:ext cx="3995738" cy="1937933"/>
          </a:xfrm>
          <a:prstGeom prst="rect">
            <a:avLst/>
          </a:prstGeom>
        </p:spPr>
      </p:pic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38C50ADA-D8EB-68E3-A4B4-E5C97810C968}"/>
              </a:ext>
            </a:extLst>
          </p:cNvPr>
          <p:cNvSpPr txBox="1">
            <a:spLocks/>
          </p:cNvSpPr>
          <p:nvPr/>
        </p:nvSpPr>
        <p:spPr>
          <a:xfrm>
            <a:off x="8716272" y="4869656"/>
            <a:ext cx="320040" cy="1714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637F1898-EC4E-5143-A11B-97469EC78C6E}" type="slidenum">
              <a:rPr lang="en-AU" sz="800" smtClean="0">
                <a:solidFill>
                  <a:srgbClr val="85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457200">
                <a:defRPr/>
              </a:pPr>
              <a:t>12</a:t>
            </a:fld>
            <a:endParaRPr lang="en-AU" sz="800" dirty="0">
              <a:solidFill>
                <a:srgbClr val="85858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A85F6B8-E44E-A904-277C-56E6D7A84700}"/>
              </a:ext>
            </a:extLst>
          </p:cNvPr>
          <p:cNvSpPr txBox="1"/>
          <p:nvPr/>
        </p:nvSpPr>
        <p:spPr>
          <a:xfrm>
            <a:off x="546801" y="2907897"/>
            <a:ext cx="805039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% of trade press documents are cited, on average 5.6 tim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uments with references are 4 times more likely to be cit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de press documents are cited by peer-reviewed journals (58%), conference proceedings (21%), trade journals (8%), books or book series (6%), pre-prints (6%)</a:t>
            </a:r>
          </a:p>
        </p:txBody>
      </p:sp>
    </p:spTree>
    <p:extLst>
      <p:ext uri="{BB962C8B-B14F-4D97-AF65-F5344CB8AC3E}">
        <p14:creationId xmlns:p14="http://schemas.microsoft.com/office/powerpoint/2010/main" val="3855618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D33E347-94BD-D015-C3E8-861707B6BF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Are any trade press documents cited in policy papers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FE84DC-A809-3938-D03C-9B8769795D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263" y="822286"/>
            <a:ext cx="6620830" cy="3816427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E67521-EDC9-3F8E-5856-6885AA32FBC2}"/>
              </a:ext>
            </a:extLst>
          </p:cNvPr>
          <p:cNvSpPr txBox="1">
            <a:spLocks/>
          </p:cNvSpPr>
          <p:nvPr/>
        </p:nvSpPr>
        <p:spPr>
          <a:xfrm>
            <a:off x="8716272" y="4869656"/>
            <a:ext cx="320040" cy="1714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637F1898-EC4E-5143-A11B-97469EC78C6E}" type="slidenum">
              <a:rPr lang="en-AU" sz="800" smtClean="0">
                <a:solidFill>
                  <a:srgbClr val="85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457200">
                <a:defRPr/>
              </a:pPr>
              <a:t>13</a:t>
            </a:fld>
            <a:endParaRPr lang="en-AU" sz="800" dirty="0">
              <a:solidFill>
                <a:srgbClr val="85858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8543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9ECA899-B83F-28F6-373D-92C771CA5D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Trade press as pathways to impact 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D9B527-181F-5533-4899-CE5383C657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796645"/>
            <a:ext cx="9144000" cy="386770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720753E-B5F7-DBE6-EAA6-F1EE5D05C9AC}"/>
              </a:ext>
            </a:extLst>
          </p:cNvPr>
          <p:cNvSpPr txBox="1">
            <a:spLocks/>
          </p:cNvSpPr>
          <p:nvPr/>
        </p:nvSpPr>
        <p:spPr>
          <a:xfrm>
            <a:off x="8716272" y="4869656"/>
            <a:ext cx="320040" cy="1714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637F1898-EC4E-5143-A11B-97469EC78C6E}" type="slidenum">
              <a:rPr lang="en-AU" sz="800" smtClean="0">
                <a:solidFill>
                  <a:srgbClr val="85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457200">
                <a:defRPr/>
              </a:pPr>
              <a:t>14</a:t>
            </a:fld>
            <a:endParaRPr lang="en-AU" sz="800" dirty="0">
              <a:solidFill>
                <a:srgbClr val="85858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357760A-4357-4337-6D69-238A2FEF91EA}"/>
              </a:ext>
            </a:extLst>
          </p:cNvPr>
          <p:cNvSpPr txBox="1"/>
          <p:nvPr/>
        </p:nvSpPr>
        <p:spPr>
          <a:xfrm>
            <a:off x="2311880" y="2053087"/>
            <a:ext cx="1271887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GB" sz="1600" dirty="0"/>
              <a:t>Trade press</a:t>
            </a:r>
          </a:p>
        </p:txBody>
      </p:sp>
    </p:spTree>
    <p:extLst>
      <p:ext uri="{BB962C8B-B14F-4D97-AF65-F5344CB8AC3E}">
        <p14:creationId xmlns:p14="http://schemas.microsoft.com/office/powerpoint/2010/main" val="376801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D582A9-3CBF-23CC-CD21-B49A6012FF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Quantitative market research​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tx2"/>
                </a:solidFill>
              </a:rPr>
              <a:t>17th May – 15th June 2023, 699 users of Science Direct and </a:t>
            </a:r>
            <a:r>
              <a:rPr lang="en-GB" sz="1400" dirty="0" err="1">
                <a:solidFill>
                  <a:schemeClr val="tx2"/>
                </a:solidFill>
              </a:rPr>
              <a:t>Knovel</a:t>
            </a:r>
            <a:r>
              <a:rPr lang="en-GB" sz="1400" dirty="0">
                <a:solidFill>
                  <a:schemeClr val="tx2"/>
                </a:solidFill>
              </a:rPr>
              <a:t> platform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400" b="1" i="1" dirty="0">
                <a:solidFill>
                  <a:schemeClr val="tx2"/>
                </a:solidFill>
              </a:rPr>
              <a:t>89% </a:t>
            </a:r>
            <a:r>
              <a:rPr lang="en-GB" sz="1400" dirty="0">
                <a:solidFill>
                  <a:schemeClr val="tx2"/>
                </a:solidFill>
              </a:rPr>
              <a:t>of respondents (aware of trade publications) </a:t>
            </a:r>
            <a:r>
              <a:rPr lang="en-GB" sz="1400" b="1" i="1" dirty="0">
                <a:solidFill>
                  <a:schemeClr val="tx2"/>
                </a:solidFill>
              </a:rPr>
              <a:t>read trade publication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400" b="1" i="1" dirty="0">
                <a:solidFill>
                  <a:schemeClr val="tx2"/>
                </a:solidFill>
              </a:rPr>
              <a:t>97%</a:t>
            </a:r>
            <a:r>
              <a:rPr lang="en-GB" sz="1400" dirty="0">
                <a:solidFill>
                  <a:schemeClr val="tx2"/>
                </a:solidFill>
              </a:rPr>
              <a:t> practitioners consider that </a:t>
            </a:r>
            <a:r>
              <a:rPr lang="en-GB" sz="1400" b="1" i="1" dirty="0">
                <a:solidFill>
                  <a:schemeClr val="tx2"/>
                </a:solidFill>
              </a:rPr>
              <a:t>what they read in trade publications is relevant to their professional practic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1400" b="1" i="1" dirty="0">
                <a:solidFill>
                  <a:schemeClr val="tx2"/>
                </a:solidFill>
              </a:rPr>
              <a:t>83%</a:t>
            </a:r>
            <a:r>
              <a:rPr lang="en-GB" sz="1400" dirty="0">
                <a:solidFill>
                  <a:schemeClr val="tx2"/>
                </a:solidFill>
              </a:rPr>
              <a:t> practitioners estimated that </a:t>
            </a:r>
            <a:r>
              <a:rPr lang="en-GB" sz="1400" b="1" i="1" dirty="0">
                <a:solidFill>
                  <a:schemeClr val="tx2"/>
                </a:solidFill>
              </a:rPr>
              <a:t>something which they read in trade publications changed the way in which they work</a:t>
            </a:r>
            <a:endParaRPr lang="en-GB" sz="1400" dirty="0">
              <a:solidFill>
                <a:schemeClr val="tx2"/>
              </a:solidFill>
            </a:endParaRPr>
          </a:p>
          <a:p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EB7D60-9E72-40F0-FA1A-14230B2DD7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Completing the pathway to societal impact</a:t>
            </a: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9BE3EAD4-0DFD-52D3-1C62-920D0D51284E}"/>
              </a:ext>
            </a:extLst>
          </p:cNvPr>
          <p:cNvSpPr txBox="1">
            <a:spLocks/>
          </p:cNvSpPr>
          <p:nvPr/>
        </p:nvSpPr>
        <p:spPr>
          <a:xfrm>
            <a:off x="8716272" y="4869656"/>
            <a:ext cx="320040" cy="1714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637F1898-EC4E-5143-A11B-97469EC78C6E}" type="slidenum">
              <a:rPr lang="en-AU" sz="800" smtClean="0">
                <a:solidFill>
                  <a:srgbClr val="85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457200">
                <a:defRPr/>
              </a:pPr>
              <a:t>15</a:t>
            </a:fld>
            <a:endParaRPr lang="en-AU" sz="800" dirty="0">
              <a:solidFill>
                <a:srgbClr val="85858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1AC1B3-0AEC-632B-6CFE-3D321DBFE5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9865" y="2947640"/>
            <a:ext cx="7484269" cy="2323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502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8920D5-8355-8D48-1CF0-D0399CB3BB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Trade press </a:t>
            </a:r>
            <a:r>
              <a:rPr lang="en-GB">
                <a:solidFill>
                  <a:schemeClr val="tx2"/>
                </a:solidFill>
              </a:rPr>
              <a:t>as pathways </a:t>
            </a:r>
            <a:r>
              <a:rPr lang="en-GB" dirty="0">
                <a:solidFill>
                  <a:schemeClr val="tx2"/>
                </a:solidFill>
              </a:rPr>
              <a:t>to impact 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E9677D-7158-E4D9-C0FE-0414E65D8C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00088"/>
            <a:ext cx="9144000" cy="4316479"/>
          </a:xfrm>
          <a:prstGeom prst="rect">
            <a:avLst/>
          </a:prstGeom>
        </p:spPr>
      </p:pic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8A8A7909-CE01-7B56-B227-847E3A4A7870}"/>
              </a:ext>
            </a:extLst>
          </p:cNvPr>
          <p:cNvSpPr txBox="1">
            <a:spLocks/>
          </p:cNvSpPr>
          <p:nvPr/>
        </p:nvSpPr>
        <p:spPr>
          <a:xfrm>
            <a:off x="8716272" y="4869656"/>
            <a:ext cx="320040" cy="1714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637F1898-EC4E-5143-A11B-97469EC78C6E}" type="slidenum">
              <a:rPr lang="en-AU" sz="800" smtClean="0">
                <a:solidFill>
                  <a:srgbClr val="85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457200">
                <a:defRPr/>
              </a:pPr>
              <a:t>16</a:t>
            </a:fld>
            <a:endParaRPr lang="en-AU" sz="800" dirty="0">
              <a:solidFill>
                <a:srgbClr val="85858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AF6CF09-6054-15EC-1F5B-5759CADC9CE3}"/>
              </a:ext>
            </a:extLst>
          </p:cNvPr>
          <p:cNvSpPr txBox="1"/>
          <p:nvPr/>
        </p:nvSpPr>
        <p:spPr>
          <a:xfrm>
            <a:off x="2156604" y="2350496"/>
            <a:ext cx="1271887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GB" sz="1600" dirty="0"/>
              <a:t>Trade press</a:t>
            </a:r>
          </a:p>
        </p:txBody>
      </p:sp>
    </p:spTree>
    <p:extLst>
      <p:ext uri="{BB962C8B-B14F-4D97-AF65-F5344CB8AC3E}">
        <p14:creationId xmlns:p14="http://schemas.microsoft.com/office/powerpoint/2010/main" val="4134672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21E6A0E-C95D-4303-B389-F08823E7CB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76263" y="1248501"/>
            <a:ext cx="5112709" cy="1744133"/>
          </a:xfrm>
        </p:spPr>
        <p:txBody>
          <a:bodyPr>
            <a:normAutofit/>
          </a:bodyPr>
          <a:lstStyle/>
          <a:p>
            <a:r>
              <a:rPr lang="en-GB" sz="4800" dirty="0"/>
              <a:t>Thank you!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013E3BF-6832-85F8-9A6E-9A38689EFF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6FFEA08-9FD6-F66E-50DD-D2209DFC88CC}"/>
              </a:ext>
            </a:extLst>
          </p:cNvPr>
          <p:cNvSpPr txBox="1"/>
          <p:nvPr/>
        </p:nvSpPr>
        <p:spPr>
          <a:xfrm>
            <a:off x="576263" y="2496327"/>
            <a:ext cx="45720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Silvia Dobre, MBA</a:t>
            </a:r>
          </a:p>
          <a:p>
            <a:r>
              <a:rPr lang="en-US" dirty="0"/>
              <a:t>Research Evaluation Manager</a:t>
            </a:r>
          </a:p>
          <a:p>
            <a:br>
              <a:rPr lang="en-US" sz="1800" dirty="0"/>
            </a:br>
            <a:r>
              <a:rPr lang="en-US" sz="1800" dirty="0"/>
              <a:t>s.dobre@elsevier.com</a:t>
            </a:r>
            <a:br>
              <a:rPr lang="en-US" sz="1800" dirty="0"/>
            </a:br>
            <a:r>
              <a:rPr lang="en-US" sz="1800" dirty="0"/>
              <a:t>@SilviaCDobre</a:t>
            </a:r>
            <a:br>
              <a:rPr lang="en-US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8501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B497557-7DC2-6CE6-FEE4-16AB10064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aiming to reach a specific industry, trade, type of busines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articles on topical subjects, news items, reviews, surve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2"/>
                </a:solidFill>
              </a:rPr>
              <a:t>include advertisements targeted to those in the field</a:t>
            </a:r>
          </a:p>
          <a:p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4B96AB-EF2C-C5B7-91ED-2D6BD9D49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What is trade press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244F495-2DCA-C925-1504-52E46AF65BAC}"/>
              </a:ext>
            </a:extLst>
          </p:cNvPr>
          <p:cNvSpPr txBox="1"/>
          <p:nvPr/>
        </p:nvSpPr>
        <p:spPr>
          <a:xfrm>
            <a:off x="576263" y="1869763"/>
            <a:ext cx="753240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i="1">
                <a:solidFill>
                  <a:srgbClr val="4985B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>
                <a:solidFill>
                  <a:schemeClr val="accent1">
                    <a:lumMod val="75000"/>
                  </a:schemeClr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elsevier.com/__data/assets/pdf_file/0007/69451/Scopus_ContentCoverage_Guide_WEB.pdf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2ECD39-AD3D-017F-E437-A5A81C3F03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7798" y="2311103"/>
            <a:ext cx="1551722" cy="20793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4CC4CE9-CEBC-2F7B-544E-D236BB1D9D1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2822" r="13105"/>
          <a:stretch/>
        </p:blipFill>
        <p:spPr>
          <a:xfrm>
            <a:off x="7365383" y="2311103"/>
            <a:ext cx="1502273" cy="202809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ADB5C8F-B1B3-2A63-D9D1-EEC11C29E9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7336" y="2311103"/>
            <a:ext cx="1513516" cy="207688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B1B7043-8049-52E5-2F32-36ADBFC5FB1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073" r="4609"/>
          <a:stretch/>
        </p:blipFill>
        <p:spPr>
          <a:xfrm>
            <a:off x="5066315" y="2311103"/>
            <a:ext cx="1502273" cy="201304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D570D18-69E4-C721-4097-7D0031D9F36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75709" y="2884719"/>
            <a:ext cx="1478486" cy="201196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E91227D-B71C-BFFC-7644-E457E2930AE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27648" y="2902210"/>
            <a:ext cx="1478486" cy="199446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B05B57C-B608-AC80-5B6B-DF4A527BEEB1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659" t="3254" r="3566" b="2955"/>
          <a:stretch/>
        </p:blipFill>
        <p:spPr>
          <a:xfrm>
            <a:off x="3856314" y="2940378"/>
            <a:ext cx="1530475" cy="195630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D85A6A7-1B56-7158-E099-06267184C68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81997" y="771353"/>
            <a:ext cx="1032431" cy="139681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7A286CCD-CF9B-03E3-3F2E-30E714F7D1AA}"/>
              </a:ext>
            </a:extLst>
          </p:cNvPr>
          <p:cNvSpPr txBox="1">
            <a:spLocks/>
          </p:cNvSpPr>
          <p:nvPr/>
        </p:nvSpPr>
        <p:spPr>
          <a:xfrm>
            <a:off x="8716272" y="4869656"/>
            <a:ext cx="320040" cy="1714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637F1898-EC4E-5143-A11B-97469EC78C6E}" type="slidenum">
              <a:rPr lang="en-AU" sz="80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457200">
                <a:defRPr/>
              </a:pPr>
              <a:t>2</a:t>
            </a:fld>
            <a:endParaRPr lang="en-AU" sz="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743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B5FCBB9-548A-A85B-DA35-ACAEF80F0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What is the trade press segmentation?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06C3411C-7992-5FC0-E8CD-03624DB49C68}"/>
              </a:ext>
            </a:extLst>
          </p:cNvPr>
          <p:cNvSpPr txBox="1">
            <a:spLocks/>
          </p:cNvSpPr>
          <p:nvPr/>
        </p:nvSpPr>
        <p:spPr>
          <a:xfrm>
            <a:off x="8716272" y="4869656"/>
            <a:ext cx="320040" cy="1714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637F1898-EC4E-5143-A11B-97469EC78C6E}" type="slidenum">
              <a:rPr lang="en-AU" sz="800" smtClean="0">
                <a:solidFill>
                  <a:srgbClr val="85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457200">
                <a:defRPr/>
              </a:pPr>
              <a:t>3</a:t>
            </a:fld>
            <a:endParaRPr lang="en-AU" sz="800" dirty="0">
              <a:solidFill>
                <a:srgbClr val="85858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6D88F580-24A9-2256-4EAC-FEF88E196F69}"/>
              </a:ext>
            </a:extLst>
          </p:cNvPr>
          <p:cNvSpPr/>
          <p:nvPr/>
        </p:nvSpPr>
        <p:spPr>
          <a:xfrm rot="10800000">
            <a:off x="596560" y="831273"/>
            <a:ext cx="8210042" cy="1816852"/>
          </a:xfrm>
          <a:prstGeom prst="triangle">
            <a:avLst>
              <a:gd name="adj" fmla="val 50356"/>
            </a:avLst>
          </a:prstGeom>
          <a:solidFill>
            <a:srgbClr val="6599D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2"/>
              </a:solidFill>
            </a:endParaRPr>
          </a:p>
        </p:txBody>
      </p:sp>
      <p:sp>
        <p:nvSpPr>
          <p:cNvPr id="8" name="Isosceles Triangle 7">
            <a:extLst>
              <a:ext uri="{FF2B5EF4-FFF2-40B4-BE49-F238E27FC236}">
                <a16:creationId xmlns:a16="http://schemas.microsoft.com/office/drawing/2014/main" id="{51A8F8E8-8998-9811-B4D3-CAAC19C0335D}"/>
              </a:ext>
            </a:extLst>
          </p:cNvPr>
          <p:cNvSpPr/>
          <p:nvPr/>
        </p:nvSpPr>
        <p:spPr>
          <a:xfrm>
            <a:off x="576262" y="2648368"/>
            <a:ext cx="8214982" cy="1850525"/>
          </a:xfrm>
          <a:prstGeom prst="triangle">
            <a:avLst>
              <a:gd name="adj" fmla="val 50000"/>
            </a:avLst>
          </a:prstGeom>
          <a:solidFill>
            <a:srgbClr val="B3A2C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C3C22BC4-BF26-90F2-773D-7378688013A6}"/>
              </a:ext>
            </a:extLst>
          </p:cNvPr>
          <p:cNvSpPr/>
          <p:nvPr/>
        </p:nvSpPr>
        <p:spPr>
          <a:xfrm rot="16200000">
            <a:off x="4914825" y="603428"/>
            <a:ext cx="3677666" cy="4123042"/>
          </a:xfrm>
          <a:prstGeom prst="triangle">
            <a:avLst>
              <a:gd name="adj" fmla="val 50405"/>
            </a:avLst>
          </a:prstGeom>
          <a:solidFill>
            <a:srgbClr val="F5770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2"/>
              </a:solidFill>
            </a:endParaRPr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C67E624A-B89D-653A-3059-1077FA4D634D}"/>
              </a:ext>
            </a:extLst>
          </p:cNvPr>
          <p:cNvSpPr/>
          <p:nvPr/>
        </p:nvSpPr>
        <p:spPr>
          <a:xfrm rot="5400000">
            <a:off x="792210" y="615222"/>
            <a:ext cx="3667209" cy="4099104"/>
          </a:xfrm>
          <a:prstGeom prst="triangle">
            <a:avLst>
              <a:gd name="adj" fmla="val 4944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F98135-FFBC-3D36-AA78-32B0FA8468E9}"/>
              </a:ext>
            </a:extLst>
          </p:cNvPr>
          <p:cNvSpPr txBox="1"/>
          <p:nvPr/>
        </p:nvSpPr>
        <p:spPr>
          <a:xfrm>
            <a:off x="2822299" y="1162675"/>
            <a:ext cx="2044824" cy="91001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500" dirty="0">
                <a:solidFill>
                  <a:schemeClr val="tx2"/>
                </a:solidFill>
              </a:rPr>
              <a:t>Content Type: 	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500" i="1" dirty="0">
                <a:solidFill>
                  <a:schemeClr val="tx2"/>
                </a:solidFill>
              </a:rPr>
              <a:t>Academic/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500" i="1" dirty="0">
                <a:solidFill>
                  <a:schemeClr val="tx2"/>
                </a:solidFill>
              </a:rPr>
              <a:t>Scholarl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4ED4D2A-38C3-D8E6-BAC6-31BE79AA4F79}"/>
              </a:ext>
            </a:extLst>
          </p:cNvPr>
          <p:cNvSpPr txBox="1"/>
          <p:nvPr/>
        </p:nvSpPr>
        <p:spPr>
          <a:xfrm>
            <a:off x="5045560" y="1123740"/>
            <a:ext cx="1960889" cy="10185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dirty="0">
                <a:solidFill>
                  <a:schemeClr val="tx2"/>
                </a:solidFill>
              </a:rPr>
              <a:t>Publisher Name includes </a:t>
            </a:r>
            <a:r>
              <a:rPr lang="en-GB" sz="1400" i="1" dirty="0">
                <a:solidFill>
                  <a:schemeClr val="tx2"/>
                </a:solidFill>
              </a:rPr>
              <a:t>Institute </a:t>
            </a:r>
            <a:r>
              <a:rPr lang="en-GB" sz="1400" dirty="0">
                <a:solidFill>
                  <a:schemeClr val="tx2"/>
                </a:solidFill>
              </a:rPr>
              <a:t>OR</a:t>
            </a:r>
            <a:r>
              <a:rPr lang="en-GB" sz="1400" i="1" dirty="0">
                <a:solidFill>
                  <a:schemeClr val="tx2"/>
                </a:solidFill>
              </a:rPr>
              <a:t>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i="1" dirty="0">
                <a:solidFill>
                  <a:schemeClr val="tx2"/>
                </a:solidFill>
              </a:rPr>
              <a:t>Society </a:t>
            </a:r>
            <a:r>
              <a:rPr lang="en-GB" sz="1400" dirty="0">
                <a:solidFill>
                  <a:schemeClr val="tx2"/>
                </a:solidFill>
              </a:rPr>
              <a:t>OR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i="1" dirty="0">
                <a:solidFill>
                  <a:schemeClr val="tx2"/>
                </a:solidFill>
              </a:rPr>
              <a:t>Professiona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C657061-DC4D-E026-299A-52FDF174A3BF}"/>
              </a:ext>
            </a:extLst>
          </p:cNvPr>
          <p:cNvSpPr txBox="1"/>
          <p:nvPr/>
        </p:nvSpPr>
        <p:spPr>
          <a:xfrm>
            <a:off x="3283467" y="835025"/>
            <a:ext cx="2577066" cy="3434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b="1" dirty="0">
                <a:solidFill>
                  <a:schemeClr val="tx2"/>
                </a:solidFill>
              </a:rPr>
              <a:t>Professional Journals</a:t>
            </a:r>
            <a:endParaRPr lang="en-GB" sz="1800" b="1" i="1" dirty="0">
              <a:solidFill>
                <a:schemeClr val="tx2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240C938-B192-15E2-4EEB-10517CBF2483}"/>
              </a:ext>
            </a:extLst>
          </p:cNvPr>
          <p:cNvSpPr txBox="1"/>
          <p:nvPr/>
        </p:nvSpPr>
        <p:spPr>
          <a:xfrm>
            <a:off x="7437359" y="1321709"/>
            <a:ext cx="1377820" cy="5585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500" dirty="0">
                <a:solidFill>
                  <a:schemeClr val="tx2"/>
                </a:solidFill>
              </a:rPr>
              <a:t>Content Type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500" i="1" dirty="0">
                <a:solidFill>
                  <a:schemeClr val="tx2"/>
                </a:solidFill>
              </a:rPr>
              <a:t>Trad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6E078F-EB13-735B-32E8-81F314631EAB}"/>
              </a:ext>
            </a:extLst>
          </p:cNvPr>
          <p:cNvSpPr txBox="1"/>
          <p:nvPr/>
        </p:nvSpPr>
        <p:spPr>
          <a:xfrm>
            <a:off x="6764594" y="1830464"/>
            <a:ext cx="1836551" cy="18815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dirty="0">
                <a:solidFill>
                  <a:schemeClr val="tx2"/>
                </a:solidFill>
              </a:rPr>
              <a:t>Serial Type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i="1" dirty="0">
                <a:solidFill>
                  <a:schemeClr val="tx2"/>
                </a:solidFill>
              </a:rPr>
              <a:t>Journal </a:t>
            </a:r>
            <a:r>
              <a:rPr lang="en-GB" sz="1400" dirty="0">
                <a:solidFill>
                  <a:schemeClr val="tx2"/>
                </a:solidFill>
              </a:rPr>
              <a:t>OR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dirty="0">
                <a:solidFill>
                  <a:schemeClr val="tx2"/>
                </a:solidFill>
              </a:rPr>
              <a:t>Serial Title includes</a:t>
            </a:r>
            <a:r>
              <a:rPr lang="en-GB" sz="1400" i="1" dirty="0">
                <a:solidFill>
                  <a:schemeClr val="tx2"/>
                </a:solidFill>
              </a:rPr>
              <a:t> Journal </a:t>
            </a:r>
            <a:r>
              <a:rPr lang="en-GB" sz="1400" dirty="0">
                <a:solidFill>
                  <a:schemeClr val="tx2"/>
                </a:solidFill>
              </a:rPr>
              <a:t>OR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dirty="0">
                <a:solidFill>
                  <a:schemeClr val="tx2"/>
                </a:solidFill>
              </a:rPr>
              <a:t>Publisher Name includes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i="1" dirty="0">
                <a:solidFill>
                  <a:schemeClr val="tx2"/>
                </a:solidFill>
              </a:rPr>
              <a:t>Association </a:t>
            </a:r>
            <a:r>
              <a:rPr lang="en-GB" sz="1400" dirty="0">
                <a:solidFill>
                  <a:schemeClr val="tx2"/>
                </a:solidFill>
              </a:rPr>
              <a:t>OR</a:t>
            </a:r>
            <a:r>
              <a:rPr lang="en-GB" sz="1400" i="1" dirty="0">
                <a:solidFill>
                  <a:schemeClr val="tx2"/>
                </a:solidFill>
              </a:rPr>
              <a:t>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i="1" dirty="0">
                <a:solidFill>
                  <a:schemeClr val="tx2"/>
                </a:solidFill>
              </a:rPr>
              <a:t>Federation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400" i="1" dirty="0">
              <a:solidFill>
                <a:schemeClr val="tx2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5AD5EAD-9697-A564-CAAC-973B6689B2AA}"/>
              </a:ext>
            </a:extLst>
          </p:cNvPr>
          <p:cNvSpPr txBox="1"/>
          <p:nvPr/>
        </p:nvSpPr>
        <p:spPr>
          <a:xfrm rot="5400000">
            <a:off x="7590264" y="2466614"/>
            <a:ext cx="1881517" cy="3434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b="1" dirty="0">
                <a:solidFill>
                  <a:schemeClr val="tx2"/>
                </a:solidFill>
              </a:rPr>
              <a:t>Trade Journals</a:t>
            </a:r>
            <a:endParaRPr lang="en-GB" sz="1800" b="1" i="1" dirty="0">
              <a:solidFill>
                <a:schemeClr val="tx2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EAA5204-AF75-D3D4-E5D3-E0BAB5134B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4235" y="2860662"/>
            <a:ext cx="875800" cy="117820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25485EF-ACE7-C34D-39CB-9A96A0DDB750}"/>
              </a:ext>
            </a:extLst>
          </p:cNvPr>
          <p:cNvSpPr txBox="1"/>
          <p:nvPr/>
        </p:nvSpPr>
        <p:spPr>
          <a:xfrm>
            <a:off x="2625814" y="3639695"/>
            <a:ext cx="1377820" cy="5585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500" dirty="0">
                <a:solidFill>
                  <a:schemeClr val="tx2"/>
                </a:solidFill>
              </a:rPr>
              <a:t>Content Type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500" i="1" dirty="0">
                <a:solidFill>
                  <a:schemeClr val="tx2"/>
                </a:solidFill>
              </a:rPr>
              <a:t>Trad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486D8C8-2AC7-5FE3-0143-D53AA3FB778A}"/>
              </a:ext>
            </a:extLst>
          </p:cNvPr>
          <p:cNvSpPr txBox="1"/>
          <p:nvPr/>
        </p:nvSpPr>
        <p:spPr>
          <a:xfrm>
            <a:off x="5582726" y="3649222"/>
            <a:ext cx="1377820" cy="5585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500" dirty="0">
                <a:solidFill>
                  <a:schemeClr val="tx2"/>
                </a:solidFill>
              </a:rPr>
              <a:t>Serial Type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500" i="1" dirty="0">
                <a:solidFill>
                  <a:schemeClr val="tx2"/>
                </a:solidFill>
              </a:rPr>
              <a:t>Magazin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8FDD483-87DE-BBB0-9EDA-FAD3C71F5952}"/>
              </a:ext>
            </a:extLst>
          </p:cNvPr>
          <p:cNvSpPr txBox="1"/>
          <p:nvPr/>
        </p:nvSpPr>
        <p:spPr>
          <a:xfrm>
            <a:off x="3395219" y="4092189"/>
            <a:ext cx="2577066" cy="3434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b="1" dirty="0">
                <a:solidFill>
                  <a:schemeClr val="tx2"/>
                </a:solidFill>
              </a:rPr>
              <a:t>Trade Magazine</a:t>
            </a:r>
            <a:endParaRPr lang="en-GB" sz="1800" b="1" i="1" dirty="0">
              <a:solidFill>
                <a:schemeClr val="tx2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4EFDF0AF-DA22-7E68-7451-869398B77C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72520" y="2056669"/>
            <a:ext cx="875800" cy="1167733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39C7572E-563A-9534-3B4A-D0432AABC09E}"/>
              </a:ext>
            </a:extLst>
          </p:cNvPr>
          <p:cNvSpPr txBox="1"/>
          <p:nvPr/>
        </p:nvSpPr>
        <p:spPr>
          <a:xfrm rot="16200000">
            <a:off x="-499356" y="2527049"/>
            <a:ext cx="2691226" cy="3434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b="1" dirty="0">
                <a:solidFill>
                  <a:schemeClr val="tx2"/>
                </a:solidFill>
              </a:rPr>
              <a:t>Consumer Magazine</a:t>
            </a:r>
            <a:endParaRPr lang="en-GB" sz="1800" b="1" i="1" dirty="0">
              <a:solidFill>
                <a:schemeClr val="tx2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4F150BF-EEA8-EF25-83E0-3D1CC0EE6414}"/>
              </a:ext>
            </a:extLst>
          </p:cNvPr>
          <p:cNvSpPr txBox="1"/>
          <p:nvPr/>
        </p:nvSpPr>
        <p:spPr>
          <a:xfrm>
            <a:off x="1024259" y="1511548"/>
            <a:ext cx="1465012" cy="5585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500" dirty="0">
                <a:solidFill>
                  <a:schemeClr val="tx2"/>
                </a:solidFill>
              </a:rPr>
              <a:t>Content Type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500" i="1" dirty="0">
                <a:solidFill>
                  <a:schemeClr val="tx2"/>
                </a:solidFill>
              </a:rPr>
              <a:t>Consumer </a:t>
            </a:r>
            <a:r>
              <a:rPr lang="en-GB" sz="1500" dirty="0">
                <a:solidFill>
                  <a:schemeClr val="tx2"/>
                </a:solidFill>
              </a:rPr>
              <a:t>OR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500" i="1" dirty="0">
                <a:solidFill>
                  <a:schemeClr val="tx2"/>
                </a:solidFill>
              </a:rPr>
              <a:t>Governme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EB9B3BD-2DF7-E09C-21E5-55619292CE16}"/>
              </a:ext>
            </a:extLst>
          </p:cNvPr>
          <p:cNvSpPr txBox="1"/>
          <p:nvPr/>
        </p:nvSpPr>
        <p:spPr>
          <a:xfrm>
            <a:off x="1014921" y="2698782"/>
            <a:ext cx="1617062" cy="5585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dirty="0">
                <a:solidFill>
                  <a:schemeClr val="tx2"/>
                </a:solidFill>
              </a:rPr>
              <a:t>Serial Type: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400" i="1" dirty="0">
                <a:solidFill>
                  <a:schemeClr val="tx2"/>
                </a:solidFill>
              </a:rPr>
              <a:t>Magazine </a:t>
            </a:r>
            <a:r>
              <a:rPr lang="en-GB" sz="1400" dirty="0">
                <a:solidFill>
                  <a:schemeClr val="tx2"/>
                </a:solidFill>
              </a:rPr>
              <a:t>OR</a:t>
            </a:r>
            <a:r>
              <a:rPr lang="en-GB" sz="1400" i="1" dirty="0">
                <a:solidFill>
                  <a:schemeClr val="tx2"/>
                </a:solidFill>
              </a:rPr>
              <a:t> Newsletter </a:t>
            </a:r>
            <a:r>
              <a:rPr lang="en-GB" sz="1400" dirty="0">
                <a:solidFill>
                  <a:schemeClr val="tx2"/>
                </a:solidFill>
              </a:rPr>
              <a:t>OR</a:t>
            </a:r>
            <a:r>
              <a:rPr lang="en-GB" sz="1400" i="1" dirty="0">
                <a:solidFill>
                  <a:schemeClr val="tx2"/>
                </a:solidFill>
              </a:rPr>
              <a:t> Bulletin </a:t>
            </a:r>
            <a:r>
              <a:rPr lang="en-GB" sz="1400" dirty="0">
                <a:solidFill>
                  <a:schemeClr val="tx2"/>
                </a:solidFill>
              </a:rPr>
              <a:t>OR</a:t>
            </a:r>
            <a:r>
              <a:rPr lang="en-GB" sz="1400" i="1" dirty="0">
                <a:solidFill>
                  <a:schemeClr val="tx2"/>
                </a:solidFill>
              </a:rPr>
              <a:t> Newspaper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BD493594-96DE-674D-6CB5-210EFF712F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1005" y="2083908"/>
            <a:ext cx="841250" cy="111325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DE90B7B-B085-67DB-6F65-22CF505D1B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13051" y="1267068"/>
            <a:ext cx="865280" cy="115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04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/>
      <p:bldP spid="12" grpId="0"/>
      <p:bldP spid="13" grpId="0"/>
      <p:bldP spid="14" grpId="0"/>
      <p:bldP spid="15" grpId="0"/>
      <p:bldP spid="16" grpId="0"/>
      <p:bldP spid="18" grpId="0"/>
      <p:bldP spid="19" grpId="0"/>
      <p:bldP spid="20" grpId="0"/>
      <p:bldP spid="22" grpId="0"/>
      <p:bldP spid="23" grpId="0"/>
      <p:bldP spid="2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8097F6E-DCF9-49CC-D211-7A79E8C44D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262" y="195263"/>
            <a:ext cx="8106561" cy="504825"/>
          </a:xfrm>
        </p:spPr>
        <p:txBody>
          <a:bodyPr/>
          <a:lstStyle/>
          <a:p>
            <a:r>
              <a:rPr lang="en-GB" sz="2300" dirty="0">
                <a:solidFill>
                  <a:schemeClr val="tx2"/>
                </a:solidFill>
              </a:rPr>
              <a:t>What types of publications could we find in the trade press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01193D-2EFC-A782-C7B3-E276CE2C54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262" y="835025"/>
            <a:ext cx="5661472" cy="3386371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D655CC-230A-0C64-C7BD-B137B943A3C1}"/>
              </a:ext>
            </a:extLst>
          </p:cNvPr>
          <p:cNvSpPr txBox="1">
            <a:spLocks/>
          </p:cNvSpPr>
          <p:nvPr/>
        </p:nvSpPr>
        <p:spPr>
          <a:xfrm>
            <a:off x="8716272" y="4869656"/>
            <a:ext cx="320040" cy="1714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637F1898-EC4E-5143-A11B-97469EC78C6E}" type="slidenum">
              <a:rPr lang="en-AU" sz="800" smtClean="0">
                <a:solidFill>
                  <a:srgbClr val="85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457200">
                <a:defRPr/>
              </a:pPr>
              <a:t>4</a:t>
            </a:fld>
            <a:endParaRPr lang="en-AU" sz="800" dirty="0">
              <a:solidFill>
                <a:srgbClr val="85858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792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22FE05-2F59-392F-14B2-8FF370D35D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The </a:t>
            </a:r>
            <a:r>
              <a:rPr lang="en-GB" sz="1600" b="1" i="1" dirty="0">
                <a:solidFill>
                  <a:schemeClr val="tx2"/>
                </a:solidFill>
              </a:rPr>
              <a:t>non-scholarly literature </a:t>
            </a:r>
            <a:r>
              <a:rPr lang="en-GB" sz="1600" dirty="0">
                <a:solidFill>
                  <a:schemeClr val="tx2"/>
                </a:solidFill>
              </a:rPr>
              <a:t>plays a vital role in the transfer of research knowledge into practice by professionals and the public alike</a:t>
            </a:r>
          </a:p>
          <a:p>
            <a:endParaRPr lang="en-GB" sz="1600" dirty="0">
              <a:solidFill>
                <a:schemeClr val="tx2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600" dirty="0">
                <a:solidFill>
                  <a:schemeClr val="tx2"/>
                </a:solidFill>
              </a:rPr>
              <a:t>RQ1: What is the </a:t>
            </a:r>
            <a:r>
              <a:rPr lang="en-GB" sz="1600" b="1" i="1" dirty="0">
                <a:solidFill>
                  <a:schemeClr val="tx2"/>
                </a:solidFill>
              </a:rPr>
              <a:t>role played by non-scholarly (trade) communication </a:t>
            </a:r>
            <a:r>
              <a:rPr lang="en-GB" sz="1600" dirty="0">
                <a:solidFill>
                  <a:schemeClr val="tx2"/>
                </a:solidFill>
              </a:rPr>
              <a:t>in helping the 	research findings reach end users?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sz="1600" dirty="0">
              <a:solidFill>
                <a:schemeClr val="tx2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600" dirty="0">
                <a:solidFill>
                  <a:schemeClr val="tx2"/>
                </a:solidFill>
              </a:rPr>
              <a:t>RQ2: Can we </a:t>
            </a:r>
            <a:r>
              <a:rPr lang="en-GB" sz="1600" b="1" i="1" dirty="0">
                <a:solidFill>
                  <a:schemeClr val="tx2"/>
                </a:solidFill>
              </a:rPr>
              <a:t>identify the thread of knowledge </a:t>
            </a:r>
            <a:r>
              <a:rPr lang="en-GB" sz="1600" dirty="0">
                <a:solidFill>
                  <a:schemeClr val="tx2"/>
                </a:solidFill>
              </a:rPr>
              <a:t>from scholarly to non-scholarly (trade) communications?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sz="1600" dirty="0">
              <a:solidFill>
                <a:schemeClr val="tx2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600" dirty="0">
                <a:solidFill>
                  <a:schemeClr val="tx2"/>
                </a:solidFill>
              </a:rPr>
              <a:t>RQ3: Could we </a:t>
            </a:r>
            <a:r>
              <a:rPr lang="en-GB" sz="1600" b="1" i="1" dirty="0">
                <a:solidFill>
                  <a:schemeClr val="tx2"/>
                </a:solidFill>
              </a:rPr>
              <a:t>establish the pathways </a:t>
            </a:r>
            <a:r>
              <a:rPr lang="en-GB" sz="1600" dirty="0">
                <a:solidFill>
                  <a:schemeClr val="tx2"/>
                </a:solidFill>
              </a:rPr>
              <a:t>through which research findings (</a:t>
            </a:r>
            <a:r>
              <a:rPr lang="en-GB" sz="1600" b="1" i="1" dirty="0">
                <a:solidFill>
                  <a:schemeClr val="tx2"/>
                </a:solidFill>
              </a:rPr>
              <a:t>knowledge 	production</a:t>
            </a:r>
            <a:r>
              <a:rPr lang="en-GB" sz="1600" dirty="0">
                <a:solidFill>
                  <a:schemeClr val="tx2"/>
                </a:solidFill>
              </a:rPr>
              <a:t>) reach those who can use it (</a:t>
            </a:r>
            <a:r>
              <a:rPr lang="en-GB" sz="1600" b="1" i="1" dirty="0">
                <a:solidFill>
                  <a:schemeClr val="tx2"/>
                </a:solidFill>
              </a:rPr>
              <a:t>knowledge utilization</a:t>
            </a:r>
            <a:r>
              <a:rPr lang="en-GB" sz="1600" dirty="0">
                <a:solidFill>
                  <a:schemeClr val="tx2"/>
                </a:solidFill>
              </a:rPr>
              <a:t>)? </a:t>
            </a:r>
          </a:p>
          <a:p>
            <a:endParaRPr lang="en-GB" sz="1600" dirty="0">
              <a:solidFill>
                <a:schemeClr val="tx2"/>
              </a:solidFill>
            </a:endParaRPr>
          </a:p>
          <a:p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CC8B294-9390-E16A-FF30-D7224E22E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Why are we doing this research?</a:t>
            </a: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69E256F9-44B3-39EC-F6FC-ACC71A7A1497}"/>
              </a:ext>
            </a:extLst>
          </p:cNvPr>
          <p:cNvSpPr txBox="1">
            <a:spLocks/>
          </p:cNvSpPr>
          <p:nvPr/>
        </p:nvSpPr>
        <p:spPr>
          <a:xfrm>
            <a:off x="8716272" y="4869656"/>
            <a:ext cx="320040" cy="1714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637F1898-EC4E-5143-A11B-97469EC78C6E}" type="slidenum">
              <a:rPr lang="en-AU" sz="800" smtClean="0">
                <a:solidFill>
                  <a:srgbClr val="85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457200">
                <a:defRPr/>
              </a:pPr>
              <a:t>5</a:t>
            </a:fld>
            <a:endParaRPr lang="en-AU" sz="800" dirty="0">
              <a:solidFill>
                <a:srgbClr val="85858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365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B737FDA-8F1C-B38C-F551-BDDF819BC7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Trade press as pathways to impact </a:t>
            </a: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1193F2F0-AE75-2609-CCA4-FD28A3F155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81779"/>
            <a:ext cx="9144000" cy="3985484"/>
          </a:xfrm>
          <a:prstGeom prst="rect">
            <a:avLst/>
          </a:prstGeom>
        </p:spPr>
      </p:pic>
      <p:sp>
        <p:nvSpPr>
          <p:cNvPr id="71" name="Slide Number Placeholder 4">
            <a:extLst>
              <a:ext uri="{FF2B5EF4-FFF2-40B4-BE49-F238E27FC236}">
                <a16:creationId xmlns:a16="http://schemas.microsoft.com/office/drawing/2014/main" id="{0209C543-CCF7-3D2A-2E1C-82767CF9B94C}"/>
              </a:ext>
            </a:extLst>
          </p:cNvPr>
          <p:cNvSpPr txBox="1">
            <a:spLocks/>
          </p:cNvSpPr>
          <p:nvPr/>
        </p:nvSpPr>
        <p:spPr>
          <a:xfrm>
            <a:off x="8716272" y="4869656"/>
            <a:ext cx="320040" cy="1714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637F1898-EC4E-5143-A11B-97469EC78C6E}" type="slidenum">
              <a:rPr lang="en-AU" sz="800" smtClean="0">
                <a:solidFill>
                  <a:srgbClr val="85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457200">
                <a:defRPr/>
              </a:pPr>
              <a:t>6</a:t>
            </a:fld>
            <a:endParaRPr lang="en-AU" sz="800" dirty="0">
              <a:solidFill>
                <a:srgbClr val="85858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2" name="Picture 71">
            <a:extLst>
              <a:ext uri="{FF2B5EF4-FFF2-40B4-BE49-F238E27FC236}">
                <a16:creationId xmlns:a16="http://schemas.microsoft.com/office/drawing/2014/main" id="{C7AFF092-0337-B847-AB2A-74096030C7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1341" y="1296064"/>
            <a:ext cx="618038" cy="559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031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10BE017-8A0F-C32B-C003-F9E00E67C4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What is the study dataset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409307-8300-CEFC-9CC7-757B89D125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263" y="835025"/>
            <a:ext cx="5016380" cy="3084968"/>
          </a:xfrm>
          <a:prstGeom prst="rect">
            <a:avLst/>
          </a:prstGeom>
        </p:spPr>
      </p:pic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593DD149-F806-FF8F-F403-75FF6D52588E}"/>
              </a:ext>
            </a:extLst>
          </p:cNvPr>
          <p:cNvSpPr txBox="1">
            <a:spLocks/>
          </p:cNvSpPr>
          <p:nvPr/>
        </p:nvSpPr>
        <p:spPr>
          <a:xfrm>
            <a:off x="5592643" y="835025"/>
            <a:ext cx="3551357" cy="4068357"/>
          </a:xfrm>
          <a:prstGeom prst="rect">
            <a:avLst/>
          </a:prstGeom>
        </p:spPr>
        <p:txBody>
          <a:bodyPr>
            <a:normAutofit/>
          </a:bodyPr>
          <a:lstStyle>
            <a:lvl1pPr marL="288000" indent="-28800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Char char="•"/>
              <a:tabLst>
                <a:tab pos="266700" algn="l"/>
              </a:tabLst>
              <a:defRPr lang="nl-NL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Arial" panose="020B0604020202020204" pitchFamily="34" charset="0"/>
              <a:buChar char="−"/>
              <a:defRPr lang="nl-NL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nl-NL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nl-NL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8000" indent="-180000" algn="l" defTabSz="685800" rtl="0" eaLnBrk="1" latinLnBrk="0" hangingPunct="1">
              <a:lnSpc>
                <a:spcPct val="100000"/>
              </a:lnSpc>
              <a:spcBef>
                <a:spcPts val="375"/>
              </a:spcBef>
              <a:spcAft>
                <a:spcPts val="600"/>
              </a:spcAft>
              <a:buClr>
                <a:srgbClr val="FF6C00"/>
              </a:buClr>
              <a:buFont typeface="Courier New" panose="02070309020205020404" pitchFamily="49" charset="0"/>
              <a:buChar char="o"/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09750" indent="-1952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2163" indent="-17621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33625" indent="-182563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98738" indent="-1778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FF6C00"/>
              </a:buClr>
              <a:buFont typeface="Courier New" panose="02070309020205020404" pitchFamily="49" charset="0"/>
              <a:buChar char="o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>
                <a:solidFill>
                  <a:schemeClr val="tx2"/>
                </a:solidFill>
              </a:rPr>
              <a:t>2016 – 2021, indexed by Scopus</a:t>
            </a:r>
          </a:p>
          <a:p>
            <a:endParaRPr lang="en-GB" sz="1600" dirty="0">
              <a:solidFill>
                <a:schemeClr val="tx2"/>
              </a:solidFill>
            </a:endParaRPr>
          </a:p>
          <a:p>
            <a:r>
              <a:rPr lang="en-GB" sz="1600" dirty="0">
                <a:solidFill>
                  <a:schemeClr val="tx2"/>
                </a:solidFill>
              </a:rPr>
              <a:t>363 (out of 803) trade pres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sz="1600" dirty="0">
              <a:solidFill>
                <a:schemeClr val="tx2"/>
              </a:solidFill>
            </a:endParaRPr>
          </a:p>
          <a:p>
            <a:r>
              <a:rPr lang="en-GB" sz="1600" dirty="0">
                <a:solidFill>
                  <a:schemeClr val="tx2"/>
                </a:solidFill>
              </a:rPr>
              <a:t>100k documents, mostly articles</a:t>
            </a:r>
          </a:p>
          <a:p>
            <a:pPr marL="457200" lvl="1" indent="0">
              <a:buFont typeface="Arial" panose="020B0604020202020204" pitchFamily="34" charset="0"/>
              <a:buNone/>
            </a:pPr>
            <a:endParaRPr lang="en-GB" dirty="0">
              <a:solidFill>
                <a:schemeClr val="tx2"/>
              </a:solidFill>
            </a:endParaRPr>
          </a:p>
          <a:p>
            <a:endParaRPr lang="en-GB" sz="1600" i="1" dirty="0">
              <a:solidFill>
                <a:schemeClr val="tx2"/>
              </a:solidFill>
            </a:endParaRPr>
          </a:p>
          <a:p>
            <a:r>
              <a:rPr lang="en-GB" sz="1600" dirty="0">
                <a:solidFill>
                  <a:schemeClr val="tx2"/>
                </a:solidFill>
              </a:rPr>
              <a:t>Scopus indexed content:</a:t>
            </a:r>
          </a:p>
          <a:p>
            <a:pPr lvl="1"/>
            <a:r>
              <a:rPr lang="en-GB" sz="1400" dirty="0">
                <a:solidFill>
                  <a:schemeClr val="tx2"/>
                </a:solidFill>
              </a:rPr>
              <a:t>serial publications: journals, trade journals, book series and conference materials (that have an ISSN)</a:t>
            </a:r>
          </a:p>
          <a:p>
            <a:pPr lvl="1"/>
            <a:r>
              <a:rPr lang="en-GB" sz="1400" dirty="0">
                <a:solidFill>
                  <a:schemeClr val="tx2"/>
                </a:solidFill>
              </a:rPr>
              <a:t>non-serial sources: reports, patens, books (a publication with an ISBN)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4923FDED-7EB4-77DC-22E1-F4F14D58CE0E}"/>
              </a:ext>
            </a:extLst>
          </p:cNvPr>
          <p:cNvSpPr txBox="1">
            <a:spLocks/>
          </p:cNvSpPr>
          <p:nvPr/>
        </p:nvSpPr>
        <p:spPr>
          <a:xfrm>
            <a:off x="8716272" y="4869656"/>
            <a:ext cx="320040" cy="1714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637F1898-EC4E-5143-A11B-97469EC78C6E}" type="slidenum">
              <a:rPr lang="en-AU" sz="800" smtClean="0">
                <a:solidFill>
                  <a:srgbClr val="85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457200">
                <a:defRPr/>
              </a:pPr>
              <a:t>7</a:t>
            </a:fld>
            <a:endParaRPr lang="en-AU" sz="800" dirty="0">
              <a:solidFill>
                <a:srgbClr val="85858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2687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C7AB7C-3E58-7ECF-E4C7-E470EB871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What proportion of trade press cites other works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98F050-2F9B-0E6B-CB7E-E59675415D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263" y="835025"/>
            <a:ext cx="6337786" cy="324081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8597D64-FB6D-1972-77CA-6B55DCC4C7D9}"/>
              </a:ext>
            </a:extLst>
          </p:cNvPr>
          <p:cNvSpPr txBox="1"/>
          <p:nvPr/>
        </p:nvSpPr>
        <p:spPr>
          <a:xfrm>
            <a:off x="576263" y="4210778"/>
            <a:ext cx="57171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% of the corpus documents have references</a:t>
            </a:r>
          </a:p>
          <a:p>
            <a:endParaRPr lang="en-GB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9101DE6-2C86-C070-6B0A-E291A5B339F5}"/>
              </a:ext>
            </a:extLst>
          </p:cNvPr>
          <p:cNvSpPr txBox="1">
            <a:spLocks/>
          </p:cNvSpPr>
          <p:nvPr/>
        </p:nvSpPr>
        <p:spPr>
          <a:xfrm>
            <a:off x="8716272" y="4869656"/>
            <a:ext cx="320040" cy="1714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637F1898-EC4E-5143-A11B-97469EC78C6E}" type="slidenum">
              <a:rPr lang="en-AU" sz="800" smtClean="0">
                <a:solidFill>
                  <a:srgbClr val="85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457200">
                <a:defRPr/>
              </a:pPr>
              <a:t>8</a:t>
            </a:fld>
            <a:endParaRPr lang="en-AU" sz="800" dirty="0">
              <a:solidFill>
                <a:srgbClr val="85858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5738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7B8348C-9623-35A2-974A-64B9A47311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How many citations are used, on average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B9D1161-C146-42E1-5109-85C6366F0E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3480" y="830275"/>
            <a:ext cx="3778128" cy="226687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86C9620-B472-2F42-975A-2C8FE8D750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263" y="830276"/>
            <a:ext cx="4427217" cy="226687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12433E8-BFC1-CA5B-A61C-68DB70C69F80}"/>
              </a:ext>
            </a:extLst>
          </p:cNvPr>
          <p:cNvSpPr txBox="1"/>
          <p:nvPr/>
        </p:nvSpPr>
        <p:spPr>
          <a:xfrm>
            <a:off x="607041" y="3236006"/>
            <a:ext cx="54757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 references / document on averag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most half of these references are indexed in Scop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99125973-6885-16B9-6BD4-FFE698B6E693}"/>
              </a:ext>
            </a:extLst>
          </p:cNvPr>
          <p:cNvSpPr txBox="1">
            <a:spLocks/>
          </p:cNvSpPr>
          <p:nvPr/>
        </p:nvSpPr>
        <p:spPr>
          <a:xfrm>
            <a:off x="8716272" y="4869656"/>
            <a:ext cx="320040" cy="17145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637F1898-EC4E-5143-A11B-97469EC78C6E}" type="slidenum">
              <a:rPr lang="en-AU" sz="800" smtClean="0">
                <a:solidFill>
                  <a:srgbClr val="858585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457200">
                <a:defRPr/>
              </a:pPr>
              <a:t>9</a:t>
            </a:fld>
            <a:endParaRPr lang="en-AU" sz="800" dirty="0">
              <a:solidFill>
                <a:srgbClr val="85858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1756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yJ0heV53PlGtRYX1JzAFO0FAAAAAAADAAAAAwADAAAAAQADAAEA////////BAAAAAMAEAALm6GqAtnBEU68A6dwI+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CJ0heV53PlGtRYX1JzAFO0DRGF0YQAbAAAABExpbmtlZFNoYXBlRGF0YQAFAAAAAAACTmFtZQAZAAAATGlua2VkU2hhcGVzRGF0YVByb3BlcnR5ABBWZXJzaW9uAAAAAAAJTGFzdFdyaXRlAMzT+5l6AQAAAAEA/////50AnQAAAAVfaWQAEAAAAASboaoC2cERTrwDp3Aj6coQA0RhdGEAKgAAAAhQcmVzZW50YXRpb25TY2FubmVkRm9yTGlua2VkU2hhcGVzAAEAAk5hbWUAJAAAAExpbmtlZFNoYXBlUHJlc2VudGF0aW9uU2V0dGluZ3NEYXRhABBWZXJzaW9uAAAAAAAJTGFzdFdyaXRlAN/T+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COAUTHORING_SESSION_ID" val="b566149e-3710-4e24-8c13-ab592f63e281"/>
  <p:tag name="UNDO_REDO_REVISION" val="91"/>
  <p:tag name="MIO_PRESENTATION_LANGUAGE" val="1033"/>
</p:tagLst>
</file>

<file path=ppt/theme/theme1.xml><?xml version="1.0" encoding="utf-8"?>
<a:theme xmlns:a="http://schemas.openxmlformats.org/drawingml/2006/main" name="Elsevier light">
  <a:themeElements>
    <a:clrScheme name="Elsevier2_0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FD9B95B7-7997-4FB9-A47B-A8D416D981DD}"/>
    </a:ext>
  </a:extLst>
</a:theme>
</file>

<file path=ppt/theme/theme2.xml><?xml version="1.0" encoding="utf-8"?>
<a:theme xmlns:a="http://schemas.openxmlformats.org/drawingml/2006/main" name="Elsevier light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F1895935-4782-4ED3-9F2E-DA9302EF7568}"/>
    </a:ext>
  </a:extLst>
</a:theme>
</file>

<file path=ppt/theme/theme3.xml><?xml version="1.0" encoding="utf-8"?>
<a:theme xmlns:a="http://schemas.openxmlformats.org/drawingml/2006/main" name="Elsevier dark">
  <a:themeElements>
    <a:clrScheme name="Elsevier_2.0_Dark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679E0"/>
      </a:accent1>
      <a:accent2>
        <a:srgbClr val="EB6500"/>
      </a:accent2>
      <a:accent3>
        <a:srgbClr val="8E8E8E"/>
      </a:accent3>
      <a:accent4>
        <a:srgbClr val="CDE4FF"/>
      </a:accent4>
      <a:accent5>
        <a:srgbClr val="FFF0E4"/>
      </a:accent5>
      <a:accent6>
        <a:srgbClr val="DCDCDC"/>
      </a:accent6>
      <a:hlink>
        <a:srgbClr val="FFFFFF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0B725E11-DC5A-4140-B411-6A18A3B7ACAE}"/>
    </a:ext>
  </a:extLst>
</a:theme>
</file>

<file path=ppt/theme/theme4.xml><?xml version="1.0" encoding="utf-8"?>
<a:theme xmlns:a="http://schemas.openxmlformats.org/drawingml/2006/main" name="Elsevier dark - Charts and Data">
  <a:themeElements>
    <a:clrScheme name="Elsevier_ChartsAndData">
      <a:dk1>
        <a:srgbClr val="53565A"/>
      </a:dk1>
      <a:lt1>
        <a:sysClr val="window" lastClr="FFFFFF"/>
      </a:lt1>
      <a:dk2>
        <a:srgbClr val="000000"/>
      </a:dk2>
      <a:lt2>
        <a:srgbClr val="F2F2F2"/>
      </a:lt2>
      <a:accent1>
        <a:srgbClr val="3AABF0"/>
      </a:accent1>
      <a:accent2>
        <a:srgbClr val="702862"/>
      </a:accent2>
      <a:accent3>
        <a:srgbClr val="FF6E7D"/>
      </a:accent3>
      <a:accent4>
        <a:srgbClr val="D6EA08"/>
      </a:accent4>
      <a:accent5>
        <a:srgbClr val="FF322B"/>
      </a:accent5>
      <a:accent6>
        <a:srgbClr val="00BDC4"/>
      </a:accent6>
      <a:hlink>
        <a:srgbClr val="53565A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Illustration 1">
      <a:srgbClr val="3679E0"/>
    </a:custClr>
    <a:custClr name="Illustration 2">
      <a:srgbClr val="C0F25D"/>
    </a:custClr>
    <a:custClr name="Illustration 3">
      <a:srgbClr val="661CCA"/>
    </a:custClr>
    <a:custClr name="Illustration 4">
      <a:srgbClr val="FDD300"/>
    </a:custClr>
    <a:custClr name="Illustration 5">
      <a:srgbClr val="ACD2FF"/>
    </a:custClr>
    <a:custClr name="Illustration 6">
      <a:srgbClr val="073973"/>
    </a:custClr>
    <a:custClr name="Illustration 7">
      <a:srgbClr val="FEB7B7"/>
    </a:custClr>
    <a:custClr name="Illustration 8">
      <a:srgbClr val="A92B1D"/>
    </a:custClr>
    <a:custClr name="Illustration 9">
      <a:srgbClr val="BB84FF"/>
    </a:custClr>
    <a:custClr name="Illustration 10">
      <a:srgbClr val="496E01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ta 1">
      <a:srgbClr val="3AABF0"/>
    </a:custClr>
    <a:custClr name="Data 2">
      <a:srgbClr val="702862"/>
    </a:custClr>
    <a:custClr name="Data 3">
      <a:srgbClr val="FF6E7D"/>
    </a:custClr>
    <a:custClr name="Data 4">
      <a:srgbClr val="D6EA08"/>
    </a:custClr>
    <a:custClr name="Data 5">
      <a:srgbClr val="FF322B"/>
    </a:custClr>
    <a:custClr name="Data 6">
      <a:srgbClr val="00BDC4"/>
    </a:custClr>
    <a:custClr name="Data 7">
      <a:srgbClr val="AC0015"/>
    </a:custClr>
    <a:custClr name="Data 8">
      <a:srgbClr val="6FBC26"/>
    </a:custClr>
    <a:custClr name="Data 9">
      <a:srgbClr val="E6008C"/>
    </a:custClr>
    <a:custClr name="Data 10">
      <a:srgbClr val="664129"/>
    </a:custClr>
  </a:custClrLst>
  <a:extLst>
    <a:ext uri="{05A4C25C-085E-4340-85A3-A5531E510DB2}">
      <thm15:themeFamily xmlns:thm15="http://schemas.microsoft.com/office/thememl/2012/main" name="ELS_PPT_20211118.potx" id="{6D51AB49-0B25-4DDB-B36B-8D36B2C7CBC0}" vid="{8CCF67CE-5720-4FD2-9BFE-20E687D75710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2954099-6826-4f47-8a96-a347e10e2346" xsi:nil="true"/>
    <description xmlns="3fdce0d7-8eab-433b-932a-b9b965c07416" xsi:nil="true"/>
    <Info xmlns="3fdce0d7-8eab-433b-932a-b9b965c07416" xsi:nil="true"/>
    <lcf76f155ced4ddcb4097134ff3c332f xmlns="3fdce0d7-8eab-433b-932a-b9b965c07416">
      <Terms xmlns="http://schemas.microsoft.com/office/infopath/2007/PartnerControls"/>
    </lcf76f155ced4ddcb4097134ff3c332f>
    <SharedWithUsers xmlns="92954099-6826-4f47-8a96-a347e10e2346">
      <UserInfo>
        <DisplayName>Mansour, Wael (ELS-UAE)</DisplayName>
        <AccountId>757</AccountId>
        <AccountType/>
      </UserInfo>
      <UserInfo>
        <DisplayName>Desai, Shruti (ELS-LOW)</DisplayName>
        <AccountId>352</AccountId>
        <AccountType/>
      </UserInfo>
      <UserInfo>
        <DisplayName>Beatty-Tucker, Susannah E. (ELS-SDG)</DisplayName>
        <AccountId>755</AccountId>
        <AccountType/>
      </UserInfo>
      <UserInfo>
        <DisplayName>McGuire, Angela (ELS-OXF)</DisplayName>
        <AccountId>86</AccountId>
        <AccountType/>
      </UserInfo>
      <UserInfo>
        <DisplayName>Kerr, Catriona (ELS-CON)</DisplayName>
        <AccountId>769</AccountId>
        <AccountType/>
      </UserInfo>
      <UserInfo>
        <DisplayName>Kessel, Lisette Van (ELS-AMS)</DisplayName>
        <AccountId>462</AccountId>
        <AccountType/>
      </UserInfo>
      <UserInfo>
        <DisplayName>Herbert, Rachel (ELS-OXF)</DisplayName>
        <AccountId>159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7CFCA8881DDB40A227A304FD573948" ma:contentTypeVersion="20" ma:contentTypeDescription="Create a new document." ma:contentTypeScope="" ma:versionID="5bddbf02011823fd026004f20505747f">
  <xsd:schema xmlns:xsd="http://www.w3.org/2001/XMLSchema" xmlns:xs="http://www.w3.org/2001/XMLSchema" xmlns:p="http://schemas.microsoft.com/office/2006/metadata/properties" xmlns:ns2="3fdce0d7-8eab-433b-932a-b9b965c07416" xmlns:ns3="92954099-6826-4f47-8a96-a347e10e2346" targetNamespace="http://schemas.microsoft.com/office/2006/metadata/properties" ma:root="true" ma:fieldsID="5913bcb6dfde96123fc1389600e47886" ns2:_="" ns3:_="">
    <xsd:import namespace="3fdce0d7-8eab-433b-932a-b9b965c07416"/>
    <xsd:import namespace="92954099-6826-4f47-8a96-a347e10e23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Info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description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dce0d7-8eab-433b-932a-b9b965c0741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Info" ma:index="18" nillable="true" ma:displayName="Info" ma:format="Dropdown" ma:internalName="Info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02763e4d-7885-4cd8-8534-835ebc0ece8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description" ma:index="24" nillable="true" ma:displayName="description" ma:format="Dropdown" ma:internalName="description">
      <xsd:simpleType>
        <xsd:restriction base="dms:Note">
          <xsd:maxLength value="255"/>
        </xsd:restriction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954099-6826-4f47-8a96-a347e10e234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6ac5278d-794a-42e4-a973-ca92aaf58756}" ma:internalName="TaxCatchAll" ma:showField="CatchAllData" ma:web="92954099-6826-4f47-8a96-a347e10e23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CD6E96E-2C65-449E-B6EC-3E56E39CEE3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94A5270-FEC4-4CD8-85F4-4D2A251F7DFB}">
  <ds:schemaRefs>
    <ds:schemaRef ds:uri="http://schemas.microsoft.com/office/2006/documentManagement/types"/>
    <ds:schemaRef ds:uri="92954099-6826-4f47-8a96-a347e10e2346"/>
    <ds:schemaRef ds:uri="http://purl.org/dc/elements/1.1/"/>
    <ds:schemaRef ds:uri="http://purl.org/dc/dcmitype/"/>
    <ds:schemaRef ds:uri="http://purl.org/dc/terms/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3fdce0d7-8eab-433b-932a-b9b965c07416"/>
  </ds:schemaRefs>
</ds:datastoreItem>
</file>

<file path=customXml/itemProps3.xml><?xml version="1.0" encoding="utf-8"?>
<ds:datastoreItem xmlns:ds="http://schemas.openxmlformats.org/officeDocument/2006/customXml" ds:itemID="{5F1E6022-CA28-4F00-8A4C-FDFA2AEF6E4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fdce0d7-8eab-433b-932a-b9b965c07416"/>
    <ds:schemaRef ds:uri="92954099-6826-4f47-8a96-a347e10e23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343</TotalTime>
  <Words>654</Words>
  <Application>Microsoft Office PowerPoint</Application>
  <PresentationFormat>On-screen Show (16:9)</PresentationFormat>
  <Paragraphs>122</Paragraphs>
  <Slides>17</Slides>
  <Notes>14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Courier New</vt:lpstr>
      <vt:lpstr>Elsevier light</vt:lpstr>
      <vt:lpstr>Elsevier light - Charts and Data</vt:lpstr>
      <vt:lpstr>Elsevier dark</vt:lpstr>
      <vt:lpstr>Elsevier dark - Charts and Data</vt:lpstr>
      <vt:lpstr>Trade press as pathways to impact  </vt:lpstr>
      <vt:lpstr>What is trade press?</vt:lpstr>
      <vt:lpstr>What is the trade press segmentation?</vt:lpstr>
      <vt:lpstr>What types of publications could we find in the trade press?</vt:lpstr>
      <vt:lpstr>Why are we doing this research?</vt:lpstr>
      <vt:lpstr>Trade press as pathways to impact </vt:lpstr>
      <vt:lpstr>What is the study dataset?</vt:lpstr>
      <vt:lpstr>What proportion of trade press cites other works?</vt:lpstr>
      <vt:lpstr>How many citations are used, on average?</vt:lpstr>
      <vt:lpstr>What types of sources are cited?</vt:lpstr>
      <vt:lpstr>Trade press as pathways to impact </vt:lpstr>
      <vt:lpstr>What proportion of trade press is cited? </vt:lpstr>
      <vt:lpstr>Are any trade press documents cited in policy papers?</vt:lpstr>
      <vt:lpstr>Trade press as pathways to impact </vt:lpstr>
      <vt:lpstr>Completing the pathway to societal impact</vt:lpstr>
      <vt:lpstr>Trade press as pathways to impact 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ctions</dc:title>
  <dc:creator>McGuire, Angela (ELS-OXF)</dc:creator>
  <cp:lastModifiedBy>Dobre, Silvia C. (ELS-OXF)</cp:lastModifiedBy>
  <cp:revision>7</cp:revision>
  <cp:lastPrinted>2023-05-02T08:29:35Z</cp:lastPrinted>
  <dcterms:created xsi:type="dcterms:W3CDTF">2023-03-29T08:29:10Z</dcterms:created>
  <dcterms:modified xsi:type="dcterms:W3CDTF">2023-10-05T19:5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sedEntity">
    <vt:lpwstr>Templates</vt:lpwstr>
  </property>
  <property fmtid="{D5CDD505-2E9C-101B-9397-08002B2CF9AE}" pid="3" name="MSIP_Label_549ac42a-3eb4-4074-b885-aea26bd6241e_Enabled">
    <vt:lpwstr>true</vt:lpwstr>
  </property>
  <property fmtid="{D5CDD505-2E9C-101B-9397-08002B2CF9AE}" pid="4" name="MSIP_Label_549ac42a-3eb4-4074-b885-aea26bd6241e_SetDate">
    <vt:lpwstr>2023-03-29T08:29:19Z</vt:lpwstr>
  </property>
  <property fmtid="{D5CDD505-2E9C-101B-9397-08002B2CF9AE}" pid="5" name="MSIP_Label_549ac42a-3eb4-4074-b885-aea26bd6241e_Method">
    <vt:lpwstr>Standard</vt:lpwstr>
  </property>
  <property fmtid="{D5CDD505-2E9C-101B-9397-08002B2CF9AE}" pid="6" name="MSIP_Label_549ac42a-3eb4-4074-b885-aea26bd6241e_Name">
    <vt:lpwstr>General Business</vt:lpwstr>
  </property>
  <property fmtid="{D5CDD505-2E9C-101B-9397-08002B2CF9AE}" pid="7" name="MSIP_Label_549ac42a-3eb4-4074-b885-aea26bd6241e_SiteId">
    <vt:lpwstr>9274ee3f-9425-4109-a27f-9fb15c10675d</vt:lpwstr>
  </property>
  <property fmtid="{D5CDD505-2E9C-101B-9397-08002B2CF9AE}" pid="8" name="MSIP_Label_549ac42a-3eb4-4074-b885-aea26bd6241e_ActionId">
    <vt:lpwstr>12fa764c-813b-4be6-9eba-d02ea9a6c026</vt:lpwstr>
  </property>
  <property fmtid="{D5CDD505-2E9C-101B-9397-08002B2CF9AE}" pid="9" name="MSIP_Label_549ac42a-3eb4-4074-b885-aea26bd6241e_ContentBits">
    <vt:lpwstr>0</vt:lpwstr>
  </property>
  <property fmtid="{D5CDD505-2E9C-101B-9397-08002B2CF9AE}" pid="10" name="ContentTypeId">
    <vt:lpwstr>0x010100D07CFCA8881DDB40A227A304FD573948</vt:lpwstr>
  </property>
  <property fmtid="{D5CDD505-2E9C-101B-9397-08002B2CF9AE}" pid="11" name="MediaServiceImageTags">
    <vt:lpwstr/>
  </property>
</Properties>
</file>